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sldIdLst>
    <p:sldId id="266" r:id="rId5"/>
    <p:sldId id="309" r:id="rId6"/>
    <p:sldId id="310" r:id="rId7"/>
    <p:sldId id="311" r:id="rId8"/>
    <p:sldId id="332" r:id="rId9"/>
    <p:sldId id="333" r:id="rId10"/>
    <p:sldId id="312" r:id="rId11"/>
    <p:sldId id="314" r:id="rId12"/>
    <p:sldId id="313" r:id="rId13"/>
    <p:sldId id="315" r:id="rId14"/>
    <p:sldId id="316" r:id="rId15"/>
    <p:sldId id="317" r:id="rId16"/>
    <p:sldId id="318" r:id="rId17"/>
    <p:sldId id="319" r:id="rId18"/>
    <p:sldId id="320" r:id="rId19"/>
    <p:sldId id="321" r:id="rId20"/>
    <p:sldId id="322" r:id="rId21"/>
    <p:sldId id="323" r:id="rId22"/>
    <p:sldId id="325" r:id="rId23"/>
    <p:sldId id="324" r:id="rId24"/>
    <p:sldId id="326" r:id="rId25"/>
    <p:sldId id="327" r:id="rId26"/>
    <p:sldId id="328" r:id="rId27"/>
    <p:sldId id="329" r:id="rId28"/>
    <p:sldId id="330" r:id="rId29"/>
    <p:sldId id="308" r:id="rId30"/>
    <p:sldId id="33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7879FE-6990-442D-8D1E-A1318E318231}" v="5" dt="2023-05-10T08:24:16.5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94619" autoAdjust="0"/>
  </p:normalViewPr>
  <p:slideViewPr>
    <p:cSldViewPr snapToGrid="0">
      <p:cViewPr varScale="1">
        <p:scale>
          <a:sx n="111" d="100"/>
          <a:sy n="111" d="100"/>
        </p:scale>
        <p:origin x="53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h Cuong Tran" userId="455cd202f7afcefe" providerId="LiveId" clId="{BDDC29B7-33EF-45E9-B8D2-DB30D0AC1F94}"/>
    <pc:docChg chg="undo custSel addSld modSld sldOrd">
      <pc:chgData name="Manh Cuong Tran" userId="455cd202f7afcefe" providerId="LiveId" clId="{BDDC29B7-33EF-45E9-B8D2-DB30D0AC1F94}" dt="2021-12-07T18:01:24.594" v="1068" actId="20577"/>
      <pc:docMkLst>
        <pc:docMk/>
      </pc:docMkLst>
      <pc:sldChg chg="modSp mod">
        <pc:chgData name="Manh Cuong Tran" userId="455cd202f7afcefe" providerId="LiveId" clId="{BDDC29B7-33EF-45E9-B8D2-DB30D0AC1F94}" dt="2021-12-07T16:48:46.502" v="103" actId="20577"/>
        <pc:sldMkLst>
          <pc:docMk/>
          <pc:sldMk cId="895915843" sldId="266"/>
        </pc:sldMkLst>
        <pc:spChg chg="mod">
          <ac:chgData name="Manh Cuong Tran" userId="455cd202f7afcefe" providerId="LiveId" clId="{BDDC29B7-33EF-45E9-B8D2-DB30D0AC1F94}" dt="2021-12-07T16:48:11.834" v="81" actId="20577"/>
          <ac:spMkLst>
            <pc:docMk/>
            <pc:sldMk cId="895915843" sldId="266"/>
            <ac:spMk id="2" creationId="{9AB2EA78-AEB3-469B-9025-3B17201A457B}"/>
          </ac:spMkLst>
        </pc:spChg>
        <pc:spChg chg="mod">
          <ac:chgData name="Manh Cuong Tran" userId="455cd202f7afcefe" providerId="LiveId" clId="{BDDC29B7-33EF-45E9-B8D2-DB30D0AC1F94}" dt="2021-12-07T16:48:46.502" v="103" actId="20577"/>
          <ac:spMkLst>
            <pc:docMk/>
            <pc:sldMk cId="895915843" sldId="266"/>
            <ac:spMk id="3" creationId="{255E1F2F-E259-4EA8-9FFD-3A10AF541859}"/>
          </ac:spMkLst>
        </pc:spChg>
      </pc:sldChg>
      <pc:sldChg chg="addSp delSp modSp mod ord modAnim">
        <pc:chgData name="Manh Cuong Tran" userId="455cd202f7afcefe" providerId="LiveId" clId="{BDDC29B7-33EF-45E9-B8D2-DB30D0AC1F94}" dt="2021-12-07T17:52:17.399" v="873"/>
        <pc:sldMkLst>
          <pc:docMk/>
          <pc:sldMk cId="265522590" sldId="308"/>
        </pc:sldMkLst>
        <pc:spChg chg="mod">
          <ac:chgData name="Manh Cuong Tran" userId="455cd202f7afcefe" providerId="LiveId" clId="{BDDC29B7-33EF-45E9-B8D2-DB30D0AC1F94}" dt="2021-12-07T17:51:50.870" v="871" actId="20577"/>
          <ac:spMkLst>
            <pc:docMk/>
            <pc:sldMk cId="265522590" sldId="308"/>
            <ac:spMk id="2" creationId="{66A47F5C-50EC-416A-AE8C-6F6BB4225673}"/>
          </ac:spMkLst>
        </pc:spChg>
        <pc:spChg chg="add del mod">
          <ac:chgData name="Manh Cuong Tran" userId="455cd202f7afcefe" providerId="LiveId" clId="{BDDC29B7-33EF-45E9-B8D2-DB30D0AC1F94}" dt="2021-12-07T17:52:17.351" v="872"/>
          <ac:spMkLst>
            <pc:docMk/>
            <pc:sldMk cId="265522590" sldId="308"/>
            <ac:spMk id="5" creationId="{918CE1EA-BFA4-4071-BBFE-DBAAD0559D08}"/>
          </ac:spMkLst>
        </pc:spChg>
        <pc:graphicFrameChg chg="del">
          <ac:chgData name="Manh Cuong Tran" userId="455cd202f7afcefe" providerId="LiveId" clId="{BDDC29B7-33EF-45E9-B8D2-DB30D0AC1F94}" dt="2021-12-07T17:49:53.107" v="828" actId="478"/>
          <ac:graphicFrameMkLst>
            <pc:docMk/>
            <pc:sldMk cId="265522590" sldId="308"/>
            <ac:graphicFrameMk id="4" creationId="{59F5A1AC-D08D-42AE-B94A-1CAFB517D846}"/>
          </ac:graphicFrameMkLst>
        </pc:graphicFrameChg>
        <pc:picChg chg="add mod replST">
          <ac:chgData name="Manh Cuong Tran" userId="455cd202f7afcefe" providerId="LiveId" clId="{BDDC29B7-33EF-45E9-B8D2-DB30D0AC1F94}" dt="2021-12-07T17:52:17.399" v="873"/>
          <ac:picMkLst>
            <pc:docMk/>
            <pc:sldMk cId="265522590" sldId="308"/>
            <ac:picMk id="6" creationId="{49C423FC-DEAC-4F51-BCC9-33D3712ECC72}"/>
          </ac:picMkLst>
        </pc:picChg>
      </pc:sldChg>
      <pc:sldChg chg="addSp delSp modSp new mod">
        <pc:chgData name="Manh Cuong Tran" userId="455cd202f7afcefe" providerId="LiveId" clId="{BDDC29B7-33EF-45E9-B8D2-DB30D0AC1F94}" dt="2021-12-07T17:56:20.104" v="911" actId="20577"/>
        <pc:sldMkLst>
          <pc:docMk/>
          <pc:sldMk cId="3063487856" sldId="310"/>
        </pc:sldMkLst>
        <pc:spChg chg="mod">
          <ac:chgData name="Manh Cuong Tran" userId="455cd202f7afcefe" providerId="LiveId" clId="{BDDC29B7-33EF-45E9-B8D2-DB30D0AC1F94}" dt="2021-12-07T17:56:20.104" v="911" actId="20577"/>
          <ac:spMkLst>
            <pc:docMk/>
            <pc:sldMk cId="3063487856" sldId="310"/>
            <ac:spMk id="2" creationId="{E8AE83D4-C336-436E-8E0E-A27E95860ECE}"/>
          </ac:spMkLst>
        </pc:spChg>
        <pc:spChg chg="del">
          <ac:chgData name="Manh Cuong Tran" userId="455cd202f7afcefe" providerId="LiveId" clId="{BDDC29B7-33EF-45E9-B8D2-DB30D0AC1F94}" dt="2021-12-07T16:24:57.004" v="39"/>
          <ac:spMkLst>
            <pc:docMk/>
            <pc:sldMk cId="3063487856" sldId="310"/>
            <ac:spMk id="3" creationId="{115F56EE-38ED-45A5-A2E2-36C74EEAD9DD}"/>
          </ac:spMkLst>
        </pc:spChg>
        <pc:picChg chg="add mod">
          <ac:chgData name="Manh Cuong Tran" userId="455cd202f7afcefe" providerId="LiveId" clId="{BDDC29B7-33EF-45E9-B8D2-DB30D0AC1F94}" dt="2021-12-07T16:24:57.004" v="39"/>
          <ac:picMkLst>
            <pc:docMk/>
            <pc:sldMk cId="3063487856" sldId="310"/>
            <ac:picMk id="4" creationId="{6F4C2DC8-4CBF-4941-8545-BA31DAF585CE}"/>
          </ac:picMkLst>
        </pc:picChg>
      </pc:sldChg>
      <pc:sldChg chg="modSp new mod">
        <pc:chgData name="Manh Cuong Tran" userId="455cd202f7afcefe" providerId="LiveId" clId="{BDDC29B7-33EF-45E9-B8D2-DB30D0AC1F94}" dt="2021-12-07T16:37:36.530" v="42"/>
        <pc:sldMkLst>
          <pc:docMk/>
          <pc:sldMk cId="1217133943" sldId="311"/>
        </pc:sldMkLst>
        <pc:spChg chg="mod">
          <ac:chgData name="Manh Cuong Tran" userId="455cd202f7afcefe" providerId="LiveId" clId="{BDDC29B7-33EF-45E9-B8D2-DB30D0AC1F94}" dt="2021-12-07T16:37:22.861" v="41"/>
          <ac:spMkLst>
            <pc:docMk/>
            <pc:sldMk cId="1217133943" sldId="311"/>
            <ac:spMk id="2" creationId="{5D97D6F9-249C-4242-8642-F8E1DC7895F7}"/>
          </ac:spMkLst>
        </pc:spChg>
        <pc:spChg chg="mod">
          <ac:chgData name="Manh Cuong Tran" userId="455cd202f7afcefe" providerId="LiveId" clId="{BDDC29B7-33EF-45E9-B8D2-DB30D0AC1F94}" dt="2021-12-07T16:37:36.530" v="42"/>
          <ac:spMkLst>
            <pc:docMk/>
            <pc:sldMk cId="1217133943" sldId="311"/>
            <ac:spMk id="3" creationId="{6B39ED7C-EDD0-4F52-8484-8A8B3CBDC187}"/>
          </ac:spMkLst>
        </pc:spChg>
      </pc:sldChg>
      <pc:sldChg chg="addSp delSp modSp new mod modAnim">
        <pc:chgData name="Manh Cuong Tran" userId="455cd202f7afcefe" providerId="LiveId" clId="{BDDC29B7-33EF-45E9-B8D2-DB30D0AC1F94}" dt="2021-12-07T16:46:31.614" v="63"/>
        <pc:sldMkLst>
          <pc:docMk/>
          <pc:sldMk cId="513964885" sldId="312"/>
        </pc:sldMkLst>
        <pc:spChg chg="mod">
          <ac:chgData name="Manh Cuong Tran" userId="455cd202f7afcefe" providerId="LiveId" clId="{BDDC29B7-33EF-45E9-B8D2-DB30D0AC1F94}" dt="2021-12-07T16:45:30.291" v="61" actId="20577"/>
          <ac:spMkLst>
            <pc:docMk/>
            <pc:sldMk cId="513964885" sldId="312"/>
            <ac:spMk id="2" creationId="{81D783CA-D9C9-4664-8965-A6CCD898792E}"/>
          </ac:spMkLst>
        </pc:spChg>
        <pc:spChg chg="del">
          <ac:chgData name="Manh Cuong Tran" userId="455cd202f7afcefe" providerId="LiveId" clId="{BDDC29B7-33EF-45E9-B8D2-DB30D0AC1F94}" dt="2021-12-07T16:46:31.293" v="62"/>
          <ac:spMkLst>
            <pc:docMk/>
            <pc:sldMk cId="513964885" sldId="312"/>
            <ac:spMk id="3" creationId="{B73E25E4-811E-494B-800F-8757C3D5E515}"/>
          </ac:spMkLst>
        </pc:spChg>
        <pc:picChg chg="add mod replST">
          <ac:chgData name="Manh Cuong Tran" userId="455cd202f7afcefe" providerId="LiveId" clId="{BDDC29B7-33EF-45E9-B8D2-DB30D0AC1F94}" dt="2021-12-07T16:46:31.614" v="63"/>
          <ac:picMkLst>
            <pc:docMk/>
            <pc:sldMk cId="513964885" sldId="312"/>
            <ac:picMk id="4" creationId="{70020955-1F36-4955-9985-CCF3811C95CE}"/>
          </ac:picMkLst>
        </pc:picChg>
      </pc:sldChg>
      <pc:sldChg chg="modSp new mod ord">
        <pc:chgData name="Manh Cuong Tran" userId="455cd202f7afcefe" providerId="LiveId" clId="{BDDC29B7-33EF-45E9-B8D2-DB30D0AC1F94}" dt="2021-12-07T17:03:04.674" v="294"/>
        <pc:sldMkLst>
          <pc:docMk/>
          <pc:sldMk cId="3179498199" sldId="313"/>
        </pc:sldMkLst>
        <pc:spChg chg="mod">
          <ac:chgData name="Manh Cuong Tran" userId="455cd202f7afcefe" providerId="LiveId" clId="{BDDC29B7-33EF-45E9-B8D2-DB30D0AC1F94}" dt="2021-12-07T16:49:17.751" v="143" actId="20577"/>
          <ac:spMkLst>
            <pc:docMk/>
            <pc:sldMk cId="3179498199" sldId="313"/>
            <ac:spMk id="2" creationId="{17C2411F-5AF6-4C60-805D-6230981E4BFE}"/>
          </ac:spMkLst>
        </pc:spChg>
        <pc:spChg chg="mod">
          <ac:chgData name="Manh Cuong Tran" userId="455cd202f7afcefe" providerId="LiveId" clId="{BDDC29B7-33EF-45E9-B8D2-DB30D0AC1F94}" dt="2021-12-07T16:51:27.737" v="219" actId="20577"/>
          <ac:spMkLst>
            <pc:docMk/>
            <pc:sldMk cId="3179498199" sldId="313"/>
            <ac:spMk id="3" creationId="{839AB4DB-9FED-4B17-BAE6-531B0FC20837}"/>
          </ac:spMkLst>
        </pc:spChg>
      </pc:sldChg>
      <pc:sldChg chg="addSp delSp modSp new mod">
        <pc:chgData name="Manh Cuong Tran" userId="455cd202f7afcefe" providerId="LiveId" clId="{BDDC29B7-33EF-45E9-B8D2-DB30D0AC1F94}" dt="2021-12-07T16:52:32.190" v="268" actId="20577"/>
        <pc:sldMkLst>
          <pc:docMk/>
          <pc:sldMk cId="1355167533" sldId="314"/>
        </pc:sldMkLst>
        <pc:spChg chg="mod">
          <ac:chgData name="Manh Cuong Tran" userId="455cd202f7afcefe" providerId="LiveId" clId="{BDDC29B7-33EF-45E9-B8D2-DB30D0AC1F94}" dt="2021-12-07T16:52:32.190" v="268" actId="20577"/>
          <ac:spMkLst>
            <pc:docMk/>
            <pc:sldMk cId="1355167533" sldId="314"/>
            <ac:spMk id="2" creationId="{F901377D-8D0E-4546-B273-55D5472932EB}"/>
          </ac:spMkLst>
        </pc:spChg>
        <pc:spChg chg="del">
          <ac:chgData name="Manh Cuong Tran" userId="455cd202f7afcefe" providerId="LiveId" clId="{BDDC29B7-33EF-45E9-B8D2-DB30D0AC1F94}" dt="2021-12-07T16:52:11.427" v="221"/>
          <ac:spMkLst>
            <pc:docMk/>
            <pc:sldMk cId="1355167533" sldId="314"/>
            <ac:spMk id="3" creationId="{8077193A-F276-4AFA-B6B3-15E93CB1D2FC}"/>
          </ac:spMkLst>
        </pc:spChg>
        <pc:picChg chg="add mod">
          <ac:chgData name="Manh Cuong Tran" userId="455cd202f7afcefe" providerId="LiveId" clId="{BDDC29B7-33EF-45E9-B8D2-DB30D0AC1F94}" dt="2021-12-07T16:52:11.427" v="221"/>
          <ac:picMkLst>
            <pc:docMk/>
            <pc:sldMk cId="1355167533" sldId="314"/>
            <ac:picMk id="4" creationId="{C8B4DEAA-5D99-400D-9B5A-822CC3A5604A}"/>
          </ac:picMkLst>
        </pc:picChg>
      </pc:sldChg>
      <pc:sldChg chg="modSp new mod">
        <pc:chgData name="Manh Cuong Tran" userId="455cd202f7afcefe" providerId="LiveId" clId="{BDDC29B7-33EF-45E9-B8D2-DB30D0AC1F94}" dt="2021-12-07T16:55:11.385" v="279"/>
        <pc:sldMkLst>
          <pc:docMk/>
          <pc:sldMk cId="739483925" sldId="315"/>
        </pc:sldMkLst>
        <pc:spChg chg="mod">
          <ac:chgData name="Manh Cuong Tran" userId="455cd202f7afcefe" providerId="LiveId" clId="{BDDC29B7-33EF-45E9-B8D2-DB30D0AC1F94}" dt="2021-12-07T16:54:26.474" v="272"/>
          <ac:spMkLst>
            <pc:docMk/>
            <pc:sldMk cId="739483925" sldId="315"/>
            <ac:spMk id="2" creationId="{4BD80B37-C388-4E50-A217-7A64E6FAF572}"/>
          </ac:spMkLst>
        </pc:spChg>
        <pc:spChg chg="mod">
          <ac:chgData name="Manh Cuong Tran" userId="455cd202f7afcefe" providerId="LiveId" clId="{BDDC29B7-33EF-45E9-B8D2-DB30D0AC1F94}" dt="2021-12-07T16:55:11.385" v="279"/>
          <ac:spMkLst>
            <pc:docMk/>
            <pc:sldMk cId="739483925" sldId="315"/>
            <ac:spMk id="3" creationId="{C4B69069-2017-4708-A65E-E0AE13EF8C2D}"/>
          </ac:spMkLst>
        </pc:spChg>
      </pc:sldChg>
      <pc:sldChg chg="modSp new mod">
        <pc:chgData name="Manh Cuong Tran" userId="455cd202f7afcefe" providerId="LiveId" clId="{BDDC29B7-33EF-45E9-B8D2-DB30D0AC1F94}" dt="2021-12-07T16:56:04.212" v="288" actId="15"/>
        <pc:sldMkLst>
          <pc:docMk/>
          <pc:sldMk cId="3857388175" sldId="316"/>
        </pc:sldMkLst>
        <pc:spChg chg="mod">
          <ac:chgData name="Manh Cuong Tran" userId="455cd202f7afcefe" providerId="LiveId" clId="{BDDC29B7-33EF-45E9-B8D2-DB30D0AC1F94}" dt="2021-12-07T16:55:38.516" v="281"/>
          <ac:spMkLst>
            <pc:docMk/>
            <pc:sldMk cId="3857388175" sldId="316"/>
            <ac:spMk id="2" creationId="{2AEBFB75-938A-4890-BF94-9CB32875F90B}"/>
          </ac:spMkLst>
        </pc:spChg>
        <pc:spChg chg="mod">
          <ac:chgData name="Manh Cuong Tran" userId="455cd202f7afcefe" providerId="LiveId" clId="{BDDC29B7-33EF-45E9-B8D2-DB30D0AC1F94}" dt="2021-12-07T16:56:04.212" v="288" actId="15"/>
          <ac:spMkLst>
            <pc:docMk/>
            <pc:sldMk cId="3857388175" sldId="316"/>
            <ac:spMk id="3" creationId="{20838D49-A729-4ED9-B4AE-1C3669C2DA99}"/>
          </ac:spMkLst>
        </pc:spChg>
      </pc:sldChg>
      <pc:sldChg chg="addSp delSp modSp new mod modAnim">
        <pc:chgData name="Manh Cuong Tran" userId="455cd202f7afcefe" providerId="LiveId" clId="{BDDC29B7-33EF-45E9-B8D2-DB30D0AC1F94}" dt="2021-12-07T17:36:17.622" v="647" actId="20577"/>
        <pc:sldMkLst>
          <pc:docMk/>
          <pc:sldMk cId="1914931487" sldId="317"/>
        </pc:sldMkLst>
        <pc:spChg chg="mod">
          <ac:chgData name="Manh Cuong Tran" userId="455cd202f7afcefe" providerId="LiveId" clId="{BDDC29B7-33EF-45E9-B8D2-DB30D0AC1F94}" dt="2021-12-07T17:36:17.622" v="647" actId="20577"/>
          <ac:spMkLst>
            <pc:docMk/>
            <pc:sldMk cId="1914931487" sldId="317"/>
            <ac:spMk id="2" creationId="{E93DA48D-A8BA-4D2C-8125-77CE3F7EB968}"/>
          </ac:spMkLst>
        </pc:spChg>
        <pc:spChg chg="del">
          <ac:chgData name="Manh Cuong Tran" userId="455cd202f7afcefe" providerId="LiveId" clId="{BDDC29B7-33EF-45E9-B8D2-DB30D0AC1F94}" dt="2021-12-07T17:01:25.605" v="291"/>
          <ac:spMkLst>
            <pc:docMk/>
            <pc:sldMk cId="1914931487" sldId="317"/>
            <ac:spMk id="3" creationId="{12FD1B4A-C511-4D3A-B30E-869285FB07FF}"/>
          </ac:spMkLst>
        </pc:spChg>
        <pc:picChg chg="add mod replST">
          <ac:chgData name="Manh Cuong Tran" userId="455cd202f7afcefe" providerId="LiveId" clId="{BDDC29B7-33EF-45E9-B8D2-DB30D0AC1F94}" dt="2021-12-07T17:01:25.656" v="292"/>
          <ac:picMkLst>
            <pc:docMk/>
            <pc:sldMk cId="1914931487" sldId="317"/>
            <ac:picMk id="4" creationId="{4C4FFC3F-0163-4EE6-AA79-7EE15B4E0173}"/>
          </ac:picMkLst>
        </pc:picChg>
      </pc:sldChg>
      <pc:sldChg chg="addSp delSp modSp new mod modAnim">
        <pc:chgData name="Manh Cuong Tran" userId="455cd202f7afcefe" providerId="LiveId" clId="{BDDC29B7-33EF-45E9-B8D2-DB30D0AC1F94}" dt="2021-12-07T17:05:19.899" v="327"/>
        <pc:sldMkLst>
          <pc:docMk/>
          <pc:sldMk cId="2175051809" sldId="318"/>
        </pc:sldMkLst>
        <pc:spChg chg="mod">
          <ac:chgData name="Manh Cuong Tran" userId="455cd202f7afcefe" providerId="LiveId" clId="{BDDC29B7-33EF-45E9-B8D2-DB30D0AC1F94}" dt="2021-12-07T17:04:45.728" v="325" actId="20577"/>
          <ac:spMkLst>
            <pc:docMk/>
            <pc:sldMk cId="2175051809" sldId="318"/>
            <ac:spMk id="2" creationId="{EBB301B5-5A65-4D3B-918B-DE91841CB04E}"/>
          </ac:spMkLst>
        </pc:spChg>
        <pc:spChg chg="del">
          <ac:chgData name="Manh Cuong Tran" userId="455cd202f7afcefe" providerId="LiveId" clId="{BDDC29B7-33EF-45E9-B8D2-DB30D0AC1F94}" dt="2021-12-07T17:05:19.849" v="326"/>
          <ac:spMkLst>
            <pc:docMk/>
            <pc:sldMk cId="2175051809" sldId="318"/>
            <ac:spMk id="3" creationId="{DDA11E8C-34D4-4155-B462-9D7F31A5950E}"/>
          </ac:spMkLst>
        </pc:spChg>
        <pc:picChg chg="add mod replST">
          <ac:chgData name="Manh Cuong Tran" userId="455cd202f7afcefe" providerId="LiveId" clId="{BDDC29B7-33EF-45E9-B8D2-DB30D0AC1F94}" dt="2021-12-07T17:05:19.899" v="327"/>
          <ac:picMkLst>
            <pc:docMk/>
            <pc:sldMk cId="2175051809" sldId="318"/>
            <ac:picMk id="4" creationId="{F6DD390A-220D-4E9A-8164-A915C111397A}"/>
          </ac:picMkLst>
        </pc:picChg>
      </pc:sldChg>
      <pc:sldChg chg="addSp delSp modSp new mod modAnim">
        <pc:chgData name="Manh Cuong Tran" userId="455cd202f7afcefe" providerId="LiveId" clId="{BDDC29B7-33EF-45E9-B8D2-DB30D0AC1F94}" dt="2021-12-07T17:07:00.755" v="349"/>
        <pc:sldMkLst>
          <pc:docMk/>
          <pc:sldMk cId="2723408568" sldId="319"/>
        </pc:sldMkLst>
        <pc:spChg chg="mod">
          <ac:chgData name="Manh Cuong Tran" userId="455cd202f7afcefe" providerId="LiveId" clId="{BDDC29B7-33EF-45E9-B8D2-DB30D0AC1F94}" dt="2021-12-07T17:06:13.726" v="347" actId="20577"/>
          <ac:spMkLst>
            <pc:docMk/>
            <pc:sldMk cId="2723408568" sldId="319"/>
            <ac:spMk id="2" creationId="{BB8FBFBD-B931-46A0-9302-91DB177A1AC6}"/>
          </ac:spMkLst>
        </pc:spChg>
        <pc:spChg chg="del">
          <ac:chgData name="Manh Cuong Tran" userId="455cd202f7afcefe" providerId="LiveId" clId="{BDDC29B7-33EF-45E9-B8D2-DB30D0AC1F94}" dt="2021-12-07T17:07:00.707" v="348"/>
          <ac:spMkLst>
            <pc:docMk/>
            <pc:sldMk cId="2723408568" sldId="319"/>
            <ac:spMk id="3" creationId="{073813AD-EBA6-4A4A-9C9D-8C5ACF269B74}"/>
          </ac:spMkLst>
        </pc:spChg>
        <pc:picChg chg="add mod replST">
          <ac:chgData name="Manh Cuong Tran" userId="455cd202f7afcefe" providerId="LiveId" clId="{BDDC29B7-33EF-45E9-B8D2-DB30D0AC1F94}" dt="2021-12-07T17:07:00.755" v="349"/>
          <ac:picMkLst>
            <pc:docMk/>
            <pc:sldMk cId="2723408568" sldId="319"/>
            <ac:picMk id="4" creationId="{02F6A19A-272B-474F-8564-FB4F82AF7513}"/>
          </ac:picMkLst>
        </pc:picChg>
      </pc:sldChg>
      <pc:sldChg chg="addSp modSp new mod">
        <pc:chgData name="Manh Cuong Tran" userId="455cd202f7afcefe" providerId="LiveId" clId="{BDDC29B7-33EF-45E9-B8D2-DB30D0AC1F94}" dt="2021-12-07T17:15:07.762" v="425" actId="12"/>
        <pc:sldMkLst>
          <pc:docMk/>
          <pc:sldMk cId="3568529898" sldId="320"/>
        </pc:sldMkLst>
        <pc:spChg chg="mod">
          <ac:chgData name="Manh Cuong Tran" userId="455cd202f7afcefe" providerId="LiveId" clId="{BDDC29B7-33EF-45E9-B8D2-DB30D0AC1F94}" dt="2021-12-07T17:10:44.197" v="373" actId="20577"/>
          <ac:spMkLst>
            <pc:docMk/>
            <pc:sldMk cId="3568529898" sldId="320"/>
            <ac:spMk id="2" creationId="{32473376-84EC-45A9-B9BA-D396D4C97D94}"/>
          </ac:spMkLst>
        </pc:spChg>
        <pc:spChg chg="mod">
          <ac:chgData name="Manh Cuong Tran" userId="455cd202f7afcefe" providerId="LiveId" clId="{BDDC29B7-33EF-45E9-B8D2-DB30D0AC1F94}" dt="2021-12-07T17:13:15.382" v="391" actId="403"/>
          <ac:spMkLst>
            <pc:docMk/>
            <pc:sldMk cId="3568529898" sldId="320"/>
            <ac:spMk id="3" creationId="{8866D068-C3BA-4D49-9EBA-30410B3C50C8}"/>
          </ac:spMkLst>
        </pc:spChg>
        <pc:graphicFrameChg chg="add mod modGraphic">
          <ac:chgData name="Manh Cuong Tran" userId="455cd202f7afcefe" providerId="LiveId" clId="{BDDC29B7-33EF-45E9-B8D2-DB30D0AC1F94}" dt="2021-12-07T17:15:07.762" v="425" actId="12"/>
          <ac:graphicFrameMkLst>
            <pc:docMk/>
            <pc:sldMk cId="3568529898" sldId="320"/>
            <ac:graphicFrameMk id="4" creationId="{07D5E526-DD1B-4ABD-8DD3-13A345472906}"/>
          </ac:graphicFrameMkLst>
        </pc:graphicFrameChg>
      </pc:sldChg>
      <pc:sldChg chg="addSp delSp modSp new mod modAnim">
        <pc:chgData name="Manh Cuong Tran" userId="455cd202f7afcefe" providerId="LiveId" clId="{BDDC29B7-33EF-45E9-B8D2-DB30D0AC1F94}" dt="2021-12-07T17:18:03.373" v="451"/>
        <pc:sldMkLst>
          <pc:docMk/>
          <pc:sldMk cId="1822301737" sldId="321"/>
        </pc:sldMkLst>
        <pc:spChg chg="mod">
          <ac:chgData name="Manh Cuong Tran" userId="455cd202f7afcefe" providerId="LiveId" clId="{BDDC29B7-33EF-45E9-B8D2-DB30D0AC1F94}" dt="2021-12-07T17:17:48.042" v="449" actId="20577"/>
          <ac:spMkLst>
            <pc:docMk/>
            <pc:sldMk cId="1822301737" sldId="321"/>
            <ac:spMk id="2" creationId="{B6040C9B-481F-43D0-B0C6-6081761F4201}"/>
          </ac:spMkLst>
        </pc:spChg>
        <pc:spChg chg="del">
          <ac:chgData name="Manh Cuong Tran" userId="455cd202f7afcefe" providerId="LiveId" clId="{BDDC29B7-33EF-45E9-B8D2-DB30D0AC1F94}" dt="2021-12-07T17:18:03.327" v="450"/>
          <ac:spMkLst>
            <pc:docMk/>
            <pc:sldMk cId="1822301737" sldId="321"/>
            <ac:spMk id="3" creationId="{14552928-A5AB-41F8-8917-71FB150E7D57}"/>
          </ac:spMkLst>
        </pc:spChg>
        <pc:picChg chg="add mod replST">
          <ac:chgData name="Manh Cuong Tran" userId="455cd202f7afcefe" providerId="LiveId" clId="{BDDC29B7-33EF-45E9-B8D2-DB30D0AC1F94}" dt="2021-12-07T17:18:03.373" v="451"/>
          <ac:picMkLst>
            <pc:docMk/>
            <pc:sldMk cId="1822301737" sldId="321"/>
            <ac:picMk id="4" creationId="{8D767AAC-A07B-437E-B366-3BCBB826F8A9}"/>
          </ac:picMkLst>
        </pc:picChg>
      </pc:sldChg>
      <pc:sldChg chg="modSp new mod">
        <pc:chgData name="Manh Cuong Tran" userId="455cd202f7afcefe" providerId="LiveId" clId="{BDDC29B7-33EF-45E9-B8D2-DB30D0AC1F94}" dt="2021-12-07T17:26:51.777" v="549" actId="20577"/>
        <pc:sldMkLst>
          <pc:docMk/>
          <pc:sldMk cId="1370522567" sldId="322"/>
        </pc:sldMkLst>
        <pc:spChg chg="mod">
          <ac:chgData name="Manh Cuong Tran" userId="455cd202f7afcefe" providerId="LiveId" clId="{BDDC29B7-33EF-45E9-B8D2-DB30D0AC1F94}" dt="2021-12-07T17:25:27.244" v="476" actId="20577"/>
          <ac:spMkLst>
            <pc:docMk/>
            <pc:sldMk cId="1370522567" sldId="322"/>
            <ac:spMk id="2" creationId="{D1B143EF-E7D2-4593-88D4-2B9AD4763184}"/>
          </ac:spMkLst>
        </pc:spChg>
        <pc:spChg chg="mod">
          <ac:chgData name="Manh Cuong Tran" userId="455cd202f7afcefe" providerId="LiveId" clId="{BDDC29B7-33EF-45E9-B8D2-DB30D0AC1F94}" dt="2021-12-07T17:26:51.777" v="549" actId="20577"/>
          <ac:spMkLst>
            <pc:docMk/>
            <pc:sldMk cId="1370522567" sldId="322"/>
            <ac:spMk id="3" creationId="{CC633615-0AA2-4F40-9808-D0F71A84CCBD}"/>
          </ac:spMkLst>
        </pc:spChg>
      </pc:sldChg>
      <pc:sldChg chg="modSp new mod">
        <pc:chgData name="Manh Cuong Tran" userId="455cd202f7afcefe" providerId="LiveId" clId="{BDDC29B7-33EF-45E9-B8D2-DB30D0AC1F94}" dt="2021-12-07T17:32:38.016" v="635" actId="20577"/>
        <pc:sldMkLst>
          <pc:docMk/>
          <pc:sldMk cId="4172873148" sldId="323"/>
        </pc:sldMkLst>
        <pc:spChg chg="mod">
          <ac:chgData name="Manh Cuong Tran" userId="455cd202f7afcefe" providerId="LiveId" clId="{BDDC29B7-33EF-45E9-B8D2-DB30D0AC1F94}" dt="2021-12-07T17:28:37.272" v="570" actId="20577"/>
          <ac:spMkLst>
            <pc:docMk/>
            <pc:sldMk cId="4172873148" sldId="323"/>
            <ac:spMk id="2" creationId="{83C02482-B8BA-47D9-BF6B-1EF65880EA4D}"/>
          </ac:spMkLst>
        </pc:spChg>
        <pc:spChg chg="mod">
          <ac:chgData name="Manh Cuong Tran" userId="455cd202f7afcefe" providerId="LiveId" clId="{BDDC29B7-33EF-45E9-B8D2-DB30D0AC1F94}" dt="2021-12-07T17:32:38.016" v="635" actId="20577"/>
          <ac:spMkLst>
            <pc:docMk/>
            <pc:sldMk cId="4172873148" sldId="323"/>
            <ac:spMk id="3" creationId="{BC46E7B3-B790-45F0-AF9C-237ACB2C80F0}"/>
          </ac:spMkLst>
        </pc:spChg>
      </pc:sldChg>
      <pc:sldChg chg="modSp new mod">
        <pc:chgData name="Manh Cuong Tran" userId="455cd202f7afcefe" providerId="LiveId" clId="{BDDC29B7-33EF-45E9-B8D2-DB30D0AC1F94}" dt="2021-12-07T17:57:54.695" v="913" actId="20577"/>
        <pc:sldMkLst>
          <pc:docMk/>
          <pc:sldMk cId="1499903156" sldId="324"/>
        </pc:sldMkLst>
        <pc:spChg chg="mod">
          <ac:chgData name="Manh Cuong Tran" userId="455cd202f7afcefe" providerId="LiveId" clId="{BDDC29B7-33EF-45E9-B8D2-DB30D0AC1F94}" dt="2021-12-07T17:31:01.702" v="629" actId="20577"/>
          <ac:spMkLst>
            <pc:docMk/>
            <pc:sldMk cId="1499903156" sldId="324"/>
            <ac:spMk id="2" creationId="{E7D82CF3-82EE-41C1-BA67-F65A72EE0A37}"/>
          </ac:spMkLst>
        </pc:spChg>
        <pc:spChg chg="mod">
          <ac:chgData name="Manh Cuong Tran" userId="455cd202f7afcefe" providerId="LiveId" clId="{BDDC29B7-33EF-45E9-B8D2-DB30D0AC1F94}" dt="2021-12-07T17:57:54.695" v="913" actId="20577"/>
          <ac:spMkLst>
            <pc:docMk/>
            <pc:sldMk cId="1499903156" sldId="324"/>
            <ac:spMk id="3" creationId="{E43CF61D-EF0B-4903-A909-B498779D675B}"/>
          </ac:spMkLst>
        </pc:spChg>
      </pc:sldChg>
      <pc:sldChg chg="addSp delSp modSp new mod modAnim">
        <pc:chgData name="Manh Cuong Tran" userId="455cd202f7afcefe" providerId="LiveId" clId="{BDDC29B7-33EF-45E9-B8D2-DB30D0AC1F94}" dt="2021-12-07T17:35:03.282" v="641"/>
        <pc:sldMkLst>
          <pc:docMk/>
          <pc:sldMk cId="535384285" sldId="325"/>
        </pc:sldMkLst>
        <pc:spChg chg="mod">
          <ac:chgData name="Manh Cuong Tran" userId="455cd202f7afcefe" providerId="LiveId" clId="{BDDC29B7-33EF-45E9-B8D2-DB30D0AC1F94}" dt="2021-12-07T17:33:33.663" v="639" actId="20577"/>
          <ac:spMkLst>
            <pc:docMk/>
            <pc:sldMk cId="535384285" sldId="325"/>
            <ac:spMk id="2" creationId="{040B1D4B-477C-4721-9518-1524D143E427}"/>
          </ac:spMkLst>
        </pc:spChg>
        <pc:spChg chg="del">
          <ac:chgData name="Manh Cuong Tran" userId="455cd202f7afcefe" providerId="LiveId" clId="{BDDC29B7-33EF-45E9-B8D2-DB30D0AC1F94}" dt="2021-12-07T17:35:03.235" v="640"/>
          <ac:spMkLst>
            <pc:docMk/>
            <pc:sldMk cId="535384285" sldId="325"/>
            <ac:spMk id="3" creationId="{23CCC68C-BED9-49F3-A1A0-58EBBDC3C3AE}"/>
          </ac:spMkLst>
        </pc:spChg>
        <pc:picChg chg="add mod replST">
          <ac:chgData name="Manh Cuong Tran" userId="455cd202f7afcefe" providerId="LiveId" clId="{BDDC29B7-33EF-45E9-B8D2-DB30D0AC1F94}" dt="2021-12-07T17:35:03.282" v="641"/>
          <ac:picMkLst>
            <pc:docMk/>
            <pc:sldMk cId="535384285" sldId="325"/>
            <ac:picMk id="4" creationId="{E76E0B4B-8DDD-4025-8F2E-BF630B3DA486}"/>
          </ac:picMkLst>
        </pc:picChg>
      </pc:sldChg>
      <pc:sldChg chg="addSp modSp new mod">
        <pc:chgData name="Manh Cuong Tran" userId="455cd202f7afcefe" providerId="LiveId" clId="{BDDC29B7-33EF-45E9-B8D2-DB30D0AC1F94}" dt="2021-12-07T17:39:21.376" v="664" actId="20577"/>
        <pc:sldMkLst>
          <pc:docMk/>
          <pc:sldMk cId="2815968091" sldId="326"/>
        </pc:sldMkLst>
        <pc:spChg chg="mod">
          <ac:chgData name="Manh Cuong Tran" userId="455cd202f7afcefe" providerId="LiveId" clId="{BDDC29B7-33EF-45E9-B8D2-DB30D0AC1F94}" dt="2021-12-07T17:38:10.188" v="649"/>
          <ac:spMkLst>
            <pc:docMk/>
            <pc:sldMk cId="2815968091" sldId="326"/>
            <ac:spMk id="2" creationId="{7B43F86D-D66C-49B8-B3A7-460377DC5340}"/>
          </ac:spMkLst>
        </pc:spChg>
        <pc:spChg chg="mod">
          <ac:chgData name="Manh Cuong Tran" userId="455cd202f7afcefe" providerId="LiveId" clId="{BDDC29B7-33EF-45E9-B8D2-DB30D0AC1F94}" dt="2021-12-07T17:39:21.376" v="664" actId="20577"/>
          <ac:spMkLst>
            <pc:docMk/>
            <pc:sldMk cId="2815968091" sldId="326"/>
            <ac:spMk id="3" creationId="{B6F7E2A2-A264-472F-B0E1-5EEE1FE9D5B1}"/>
          </ac:spMkLst>
        </pc:spChg>
        <pc:picChg chg="add mod">
          <ac:chgData name="Manh Cuong Tran" userId="455cd202f7afcefe" providerId="LiveId" clId="{BDDC29B7-33EF-45E9-B8D2-DB30D0AC1F94}" dt="2021-12-07T17:38:57.198" v="661" actId="1076"/>
          <ac:picMkLst>
            <pc:docMk/>
            <pc:sldMk cId="2815968091" sldId="326"/>
            <ac:picMk id="4" creationId="{E96AFDC7-85BD-4295-9A73-1CF7537891BB}"/>
          </ac:picMkLst>
        </pc:picChg>
      </pc:sldChg>
      <pc:sldChg chg="modSp new mod">
        <pc:chgData name="Manh Cuong Tran" userId="455cd202f7afcefe" providerId="LiveId" clId="{BDDC29B7-33EF-45E9-B8D2-DB30D0AC1F94}" dt="2021-12-07T17:41:33.863" v="691" actId="14100"/>
        <pc:sldMkLst>
          <pc:docMk/>
          <pc:sldMk cId="1204411966" sldId="327"/>
        </pc:sldMkLst>
        <pc:spChg chg="mod">
          <ac:chgData name="Manh Cuong Tran" userId="455cd202f7afcefe" providerId="LiveId" clId="{BDDC29B7-33EF-45E9-B8D2-DB30D0AC1F94}" dt="2021-12-07T17:41:01.699" v="666"/>
          <ac:spMkLst>
            <pc:docMk/>
            <pc:sldMk cId="1204411966" sldId="327"/>
            <ac:spMk id="2" creationId="{2081CBAF-93AA-463A-8707-CA43D2AD8B2A}"/>
          </ac:spMkLst>
        </pc:spChg>
        <pc:spChg chg="mod">
          <ac:chgData name="Manh Cuong Tran" userId="455cd202f7afcefe" providerId="LiveId" clId="{BDDC29B7-33EF-45E9-B8D2-DB30D0AC1F94}" dt="2021-12-07T17:41:33.863" v="691" actId="14100"/>
          <ac:spMkLst>
            <pc:docMk/>
            <pc:sldMk cId="1204411966" sldId="327"/>
            <ac:spMk id="3" creationId="{1B3E4F22-6550-4619-B04A-484ED41EE282}"/>
          </ac:spMkLst>
        </pc:spChg>
      </pc:sldChg>
      <pc:sldChg chg="modSp add mod">
        <pc:chgData name="Manh Cuong Tran" userId="455cd202f7afcefe" providerId="LiveId" clId="{BDDC29B7-33EF-45E9-B8D2-DB30D0AC1F94}" dt="2021-12-07T17:42:10.568" v="739" actId="27636"/>
        <pc:sldMkLst>
          <pc:docMk/>
          <pc:sldMk cId="2695598695" sldId="328"/>
        </pc:sldMkLst>
        <pc:spChg chg="mod">
          <ac:chgData name="Manh Cuong Tran" userId="455cd202f7afcefe" providerId="LiveId" clId="{BDDC29B7-33EF-45E9-B8D2-DB30D0AC1F94}" dt="2021-12-07T17:42:10.568" v="739" actId="27636"/>
          <ac:spMkLst>
            <pc:docMk/>
            <pc:sldMk cId="2695598695" sldId="328"/>
            <ac:spMk id="3" creationId="{1B3E4F22-6550-4619-B04A-484ED41EE282}"/>
          </ac:spMkLst>
        </pc:spChg>
      </pc:sldChg>
      <pc:sldChg chg="addSp delSp modSp new mod modAnim">
        <pc:chgData name="Manh Cuong Tran" userId="455cd202f7afcefe" providerId="LiveId" clId="{BDDC29B7-33EF-45E9-B8D2-DB30D0AC1F94}" dt="2021-12-07T17:46:49.571" v="802"/>
        <pc:sldMkLst>
          <pc:docMk/>
          <pc:sldMk cId="3391405803" sldId="329"/>
        </pc:sldMkLst>
        <pc:spChg chg="mod">
          <ac:chgData name="Manh Cuong Tran" userId="455cd202f7afcefe" providerId="LiveId" clId="{BDDC29B7-33EF-45E9-B8D2-DB30D0AC1F94}" dt="2021-12-07T17:46:36.040" v="800" actId="20577"/>
          <ac:spMkLst>
            <pc:docMk/>
            <pc:sldMk cId="3391405803" sldId="329"/>
            <ac:spMk id="2" creationId="{AACA4BCB-A226-4A73-8DC0-27BD90A3337C}"/>
          </ac:spMkLst>
        </pc:spChg>
        <pc:spChg chg="del">
          <ac:chgData name="Manh Cuong Tran" userId="455cd202f7afcefe" providerId="LiveId" clId="{BDDC29B7-33EF-45E9-B8D2-DB30D0AC1F94}" dt="2021-12-07T17:46:49.519" v="801"/>
          <ac:spMkLst>
            <pc:docMk/>
            <pc:sldMk cId="3391405803" sldId="329"/>
            <ac:spMk id="3" creationId="{D1E8E97C-F273-463B-8225-7177962993A3}"/>
          </ac:spMkLst>
        </pc:spChg>
        <pc:picChg chg="add mod replST">
          <ac:chgData name="Manh Cuong Tran" userId="455cd202f7afcefe" providerId="LiveId" clId="{BDDC29B7-33EF-45E9-B8D2-DB30D0AC1F94}" dt="2021-12-07T17:46:49.571" v="802"/>
          <ac:picMkLst>
            <pc:docMk/>
            <pc:sldMk cId="3391405803" sldId="329"/>
            <ac:picMk id="4" creationId="{FBCAEE5C-F487-450C-A900-05BF4C3E9A50}"/>
          </ac:picMkLst>
        </pc:picChg>
      </pc:sldChg>
      <pc:sldChg chg="addSp delSp modSp new mod delAnim modAnim">
        <pc:chgData name="Manh Cuong Tran" userId="455cd202f7afcefe" providerId="LiveId" clId="{BDDC29B7-33EF-45E9-B8D2-DB30D0AC1F94}" dt="2021-12-07T17:54:26.696" v="882"/>
        <pc:sldMkLst>
          <pc:docMk/>
          <pc:sldMk cId="3267525531" sldId="330"/>
        </pc:sldMkLst>
        <pc:spChg chg="mod">
          <ac:chgData name="Manh Cuong Tran" userId="455cd202f7afcefe" providerId="LiveId" clId="{BDDC29B7-33EF-45E9-B8D2-DB30D0AC1F94}" dt="2021-12-07T17:54:12.889" v="880" actId="20577"/>
          <ac:spMkLst>
            <pc:docMk/>
            <pc:sldMk cId="3267525531" sldId="330"/>
            <ac:spMk id="2" creationId="{5B3330AA-BD90-481B-A29E-7651543365A6}"/>
          </ac:spMkLst>
        </pc:spChg>
        <pc:spChg chg="del">
          <ac:chgData name="Manh Cuong Tran" userId="455cd202f7afcefe" providerId="LiveId" clId="{BDDC29B7-33EF-45E9-B8D2-DB30D0AC1F94}" dt="2021-12-07T17:49:35.467" v="824"/>
          <ac:spMkLst>
            <pc:docMk/>
            <pc:sldMk cId="3267525531" sldId="330"/>
            <ac:spMk id="3" creationId="{9532AE5E-BD1D-4A05-999D-07E6022B69B6}"/>
          </ac:spMkLst>
        </pc:spChg>
        <pc:spChg chg="add del mod">
          <ac:chgData name="Manh Cuong Tran" userId="455cd202f7afcefe" providerId="LiveId" clId="{BDDC29B7-33EF-45E9-B8D2-DB30D0AC1F94}" dt="2021-12-07T17:53:04.424" v="875"/>
          <ac:spMkLst>
            <pc:docMk/>
            <pc:sldMk cId="3267525531" sldId="330"/>
            <ac:spMk id="6" creationId="{1404A8FC-0A02-4DB5-A399-C9B30E083D1E}"/>
          </ac:spMkLst>
        </pc:spChg>
        <pc:spChg chg="add del mod">
          <ac:chgData name="Manh Cuong Tran" userId="455cd202f7afcefe" providerId="LiveId" clId="{BDDC29B7-33EF-45E9-B8D2-DB30D0AC1F94}" dt="2021-12-07T17:54:26.646" v="881"/>
          <ac:spMkLst>
            <pc:docMk/>
            <pc:sldMk cId="3267525531" sldId="330"/>
            <ac:spMk id="9" creationId="{D27343EB-E789-432A-A458-625A36BA7A78}"/>
          </ac:spMkLst>
        </pc:spChg>
        <pc:picChg chg="add del mod replST">
          <ac:chgData name="Manh Cuong Tran" userId="455cd202f7afcefe" providerId="LiveId" clId="{BDDC29B7-33EF-45E9-B8D2-DB30D0AC1F94}" dt="2021-12-07T17:52:56.063" v="874" actId="478"/>
          <ac:picMkLst>
            <pc:docMk/>
            <pc:sldMk cId="3267525531" sldId="330"/>
            <ac:picMk id="4" creationId="{AB4DD59D-FC0A-4FB3-8618-4824B93268EC}"/>
          </ac:picMkLst>
        </pc:picChg>
        <pc:picChg chg="add del mod replST">
          <ac:chgData name="Manh Cuong Tran" userId="455cd202f7afcefe" providerId="LiveId" clId="{BDDC29B7-33EF-45E9-B8D2-DB30D0AC1F94}" dt="2021-12-07T17:54:08.332" v="877" actId="478"/>
          <ac:picMkLst>
            <pc:docMk/>
            <pc:sldMk cId="3267525531" sldId="330"/>
            <ac:picMk id="7" creationId="{642F4E20-8C59-494C-A108-4A8646CF75F1}"/>
          </ac:picMkLst>
        </pc:picChg>
        <pc:picChg chg="add mod replST">
          <ac:chgData name="Manh Cuong Tran" userId="455cd202f7afcefe" providerId="LiveId" clId="{BDDC29B7-33EF-45E9-B8D2-DB30D0AC1F94}" dt="2021-12-07T17:54:26.696" v="882"/>
          <ac:picMkLst>
            <pc:docMk/>
            <pc:sldMk cId="3267525531" sldId="330"/>
            <ac:picMk id="10" creationId="{EA311AF3-5D18-4A63-A503-F9E1BA4885B3}"/>
          </ac:picMkLst>
        </pc:picChg>
      </pc:sldChg>
      <pc:sldChg chg="modSp new mod">
        <pc:chgData name="Manh Cuong Tran" userId="455cd202f7afcefe" providerId="LiveId" clId="{BDDC29B7-33EF-45E9-B8D2-DB30D0AC1F94}" dt="2021-12-07T17:51:03.748" v="843"/>
        <pc:sldMkLst>
          <pc:docMk/>
          <pc:sldMk cId="3292056142" sldId="331"/>
        </pc:sldMkLst>
        <pc:spChg chg="mod">
          <ac:chgData name="Manh Cuong Tran" userId="455cd202f7afcefe" providerId="LiveId" clId="{BDDC29B7-33EF-45E9-B8D2-DB30D0AC1F94}" dt="2021-12-07T17:51:03.748" v="843"/>
          <ac:spMkLst>
            <pc:docMk/>
            <pc:sldMk cId="3292056142" sldId="331"/>
            <ac:spMk id="2" creationId="{83A82A7B-CD9F-4D59-9032-112A8D838271}"/>
          </ac:spMkLst>
        </pc:spChg>
      </pc:sldChg>
      <pc:sldChg chg="addSp delSp modSp new mod">
        <pc:chgData name="Manh Cuong Tran" userId="455cd202f7afcefe" providerId="LiveId" clId="{BDDC29B7-33EF-45E9-B8D2-DB30D0AC1F94}" dt="2021-12-07T17:59:27.305" v="954"/>
        <pc:sldMkLst>
          <pc:docMk/>
          <pc:sldMk cId="1212590201" sldId="332"/>
        </pc:sldMkLst>
        <pc:spChg chg="mod">
          <ac:chgData name="Manh Cuong Tran" userId="455cd202f7afcefe" providerId="LiveId" clId="{BDDC29B7-33EF-45E9-B8D2-DB30D0AC1F94}" dt="2021-12-07T17:59:24.765" v="953" actId="20577"/>
          <ac:spMkLst>
            <pc:docMk/>
            <pc:sldMk cId="1212590201" sldId="332"/>
            <ac:spMk id="2" creationId="{71BD2661-8A21-4891-A575-8DCE1EFD9679}"/>
          </ac:spMkLst>
        </pc:spChg>
        <pc:spChg chg="del">
          <ac:chgData name="Manh Cuong Tran" userId="455cd202f7afcefe" providerId="LiveId" clId="{BDDC29B7-33EF-45E9-B8D2-DB30D0AC1F94}" dt="2021-12-07T17:59:27.305" v="954"/>
          <ac:spMkLst>
            <pc:docMk/>
            <pc:sldMk cId="1212590201" sldId="332"/>
            <ac:spMk id="3" creationId="{06AE79D1-B505-4B3C-8770-0A0A1E23B2DD}"/>
          </ac:spMkLst>
        </pc:spChg>
        <pc:picChg chg="add mod">
          <ac:chgData name="Manh Cuong Tran" userId="455cd202f7afcefe" providerId="LiveId" clId="{BDDC29B7-33EF-45E9-B8D2-DB30D0AC1F94}" dt="2021-12-07T17:59:27.305" v="954"/>
          <ac:picMkLst>
            <pc:docMk/>
            <pc:sldMk cId="1212590201" sldId="332"/>
            <ac:picMk id="4" creationId="{1E5B0169-5A0B-47AD-887C-A24C9D4B324B}"/>
          </ac:picMkLst>
        </pc:picChg>
      </pc:sldChg>
      <pc:sldChg chg="addSp delSp modSp add mod">
        <pc:chgData name="Manh Cuong Tran" userId="455cd202f7afcefe" providerId="LiveId" clId="{BDDC29B7-33EF-45E9-B8D2-DB30D0AC1F94}" dt="2021-12-07T18:01:24.594" v="1068" actId="20577"/>
        <pc:sldMkLst>
          <pc:docMk/>
          <pc:sldMk cId="1934306091" sldId="333"/>
        </pc:sldMkLst>
        <pc:spChg chg="add mod">
          <ac:chgData name="Manh Cuong Tran" userId="455cd202f7afcefe" providerId="LiveId" clId="{BDDC29B7-33EF-45E9-B8D2-DB30D0AC1F94}" dt="2021-12-07T18:01:24.594" v="1068" actId="20577"/>
          <ac:spMkLst>
            <pc:docMk/>
            <pc:sldMk cId="1934306091" sldId="333"/>
            <ac:spMk id="5" creationId="{761088DB-6957-49D5-9086-C28F11AD2556}"/>
          </ac:spMkLst>
        </pc:spChg>
        <pc:picChg chg="del">
          <ac:chgData name="Manh Cuong Tran" userId="455cd202f7afcefe" providerId="LiveId" clId="{BDDC29B7-33EF-45E9-B8D2-DB30D0AC1F94}" dt="2021-12-07T18:00:30.727" v="956" actId="478"/>
          <ac:picMkLst>
            <pc:docMk/>
            <pc:sldMk cId="1934306091" sldId="333"/>
            <ac:picMk id="4" creationId="{1E5B0169-5A0B-47AD-887C-A24C9D4B324B}"/>
          </ac:picMkLst>
        </pc:picChg>
      </pc:sldChg>
    </pc:docChg>
  </pc:docChgLst>
  <pc:docChgLst>
    <pc:chgData name="Nguyen Tat Dat (GAM.DAP1)" userId="S::datnt205@fpt.com::db934787-83d6-41d0-ab05-c9f142cef57c" providerId="AD" clId="Web-{487879FE-6990-442D-8D1E-A1318E318231}"/>
    <pc:docChg chg="modSld">
      <pc:chgData name="Nguyen Tat Dat (GAM.DAP1)" userId="S::datnt205@fpt.com::db934787-83d6-41d0-ab05-c9f142cef57c" providerId="AD" clId="Web-{487879FE-6990-442D-8D1E-A1318E318231}" dt="2023-05-10T08:24:16.546" v="4" actId="1076"/>
      <pc:docMkLst>
        <pc:docMk/>
      </pc:docMkLst>
      <pc:sldChg chg="modSp">
        <pc:chgData name="Nguyen Tat Dat (GAM.DAP1)" userId="S::datnt205@fpt.com::db934787-83d6-41d0-ab05-c9f142cef57c" providerId="AD" clId="Web-{487879FE-6990-442D-8D1E-A1318E318231}" dt="2023-05-10T07:55:25.964" v="2" actId="1076"/>
        <pc:sldMkLst>
          <pc:docMk/>
          <pc:sldMk cId="2175051809" sldId="318"/>
        </pc:sldMkLst>
        <pc:picChg chg="mod">
          <ac:chgData name="Nguyen Tat Dat (GAM.DAP1)" userId="S::datnt205@fpt.com::db934787-83d6-41d0-ab05-c9f142cef57c" providerId="AD" clId="Web-{487879FE-6990-442D-8D1E-A1318E318231}" dt="2023-05-10T07:55:25.964" v="2" actId="1076"/>
          <ac:picMkLst>
            <pc:docMk/>
            <pc:sldMk cId="2175051809" sldId="318"/>
            <ac:picMk id="4" creationId="{F6DD390A-220D-4E9A-8164-A915C111397A}"/>
          </ac:picMkLst>
        </pc:picChg>
      </pc:sldChg>
      <pc:sldChg chg="modSp">
        <pc:chgData name="Nguyen Tat Dat (GAM.DAP1)" userId="S::datnt205@fpt.com::db934787-83d6-41d0-ab05-c9f142cef57c" providerId="AD" clId="Web-{487879FE-6990-442D-8D1E-A1318E318231}" dt="2023-05-10T08:24:16.546" v="4" actId="1076"/>
        <pc:sldMkLst>
          <pc:docMk/>
          <pc:sldMk cId="1822301737" sldId="321"/>
        </pc:sldMkLst>
        <pc:picChg chg="mod">
          <ac:chgData name="Nguyen Tat Dat (GAM.DAP1)" userId="S::datnt205@fpt.com::db934787-83d6-41d0-ab05-c9f142cef57c" providerId="AD" clId="Web-{487879FE-6990-442D-8D1E-A1318E318231}" dt="2023-05-10T08:24:16.546" v="4" actId="1076"/>
          <ac:picMkLst>
            <pc:docMk/>
            <pc:sldMk cId="1822301737" sldId="321"/>
            <ac:picMk id="4" creationId="{8D767AAC-A07B-437E-B366-3BCBB826F8A9}"/>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5/10/2023</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87293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5/10/2023</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38980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5/10/2023</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822331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5/10/2023</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757611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5/10/2023</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80280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5/10/2023</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01771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5/10/2023</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150701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5/10/2023</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801302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5/10/2023</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58826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900">
                <a:solidFill>
                  <a:srgbClr val="FFFFFF"/>
                </a:solidFill>
              </a:defRPr>
            </a:lvl1pPr>
          </a:lstStyle>
          <a:p>
            <a:fld id="{62D6E202-B606-4609-B914-27C9371A1F6D}" type="datetime1">
              <a:rPr lang="en-US" smtClean="0"/>
              <a:t>5/10/2023</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0147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ftr="0" dt="0"/>
  <p:txStyles>
    <p:titleStyle>
      <a:lvl1pPr algn="l" defTabSz="914400" rtl="0" eaLnBrk="1" latinLnBrk="0" hangingPunct="1">
        <a:lnSpc>
          <a:spcPct val="90000"/>
        </a:lnSpc>
        <a:spcBef>
          <a:spcPct val="0"/>
        </a:spcBef>
        <a:buNone/>
        <a:defRPr sz="46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ideo" Target="https://www.youtube.com/embed/vmcf_3Oriak?feature=oembed" TargetMode="External"/><Relationship Id="rId4" Type="http://schemas.openxmlformats.org/officeDocument/2006/relationships/image" Target="../media/image7.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ideo" Target="https://www.youtube.com/embed/jSiFzLkZvcc?feature=oembed" TargetMode="External"/><Relationship Id="rId4" Type="http://schemas.openxmlformats.org/officeDocument/2006/relationships/image" Target="../media/image8.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ideo" Target="https://www.youtube.com/embed/8BQc5Me7ei0?start=61&amp;feature=oembed" TargetMode="Externa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ideo" Target="https://www.youtube.com/embed/QhhiNjCSpmc?feature=oembed" TargetMode="External"/><Relationship Id="rId4" Type="http://schemas.openxmlformats.org/officeDocument/2006/relationships/image" Target="../media/image10.jpeg"/></Relationships>
</file>

<file path=ppt/slides/_rels/slide17.xml.rels><?xml version="1.0" encoding="UTF-8" standalone="yes"?>
<Relationships xmlns="http://schemas.openxmlformats.org/package/2006/relationships"><Relationship Id="rId2" Type="http://schemas.openxmlformats.org/officeDocument/2006/relationships/hyperlink" Target="https://www.guru99.com/keyword-driven-testing.html"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ideo" Target="https://www.youtube.com/embed/VS6EEUVZGLE?feature=oembed" TargetMode="Externa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testim.io/blog/test-automation-frameworks/" TargetMode="External"/><Relationship Id="rId2" Type="http://schemas.openxmlformats.org/officeDocument/2006/relationships/hyperlink" Target="https://smartbear.com/learn/automated-testing/test-automation-frameworks/"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tricentis.com/products/automate-continuous-testing-tosca/" TargetMode="External"/><Relationship Id="rId2" Type="http://schemas.openxmlformats.org/officeDocument/2006/relationships/hyperlink" Target="https://en.wikipedia.org/wiki/Continuous_testing" TargetMode="Externa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ideo" Target="https://www.youtube.com/embed/Rq5TQlPyr8g?start=72&amp;feature=oembed" TargetMode="External"/><Relationship Id="rId4" Type="http://schemas.openxmlformats.org/officeDocument/2006/relationships/image" Target="../media/image13.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ideo" Target="https://www.youtube.com/embed/Xrgk023l4lI?feature=oembed" TargetMode="External"/><Relationship Id="rId4" Type="http://schemas.openxmlformats.org/officeDocument/2006/relationships/image" Target="../media/image14.jpeg"/></Relationships>
</file>

<file path=ppt/slides/_rels/slide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video" Target="https://www.youtube.com/embed/5Eqz8hm3SVQ?feature=oembed" TargetMode="External"/><Relationship Id="rId1" Type="http://schemas.openxmlformats.org/officeDocument/2006/relationships/themeOverride" Target="../theme/themeOverride2.xml"/><Relationship Id="rId5" Type="http://schemas.openxmlformats.org/officeDocument/2006/relationships/image" Target="../media/image15.jpeg"/><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hackr.io/blog/types-of-software-testin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guru99.com/automation-testing.html" TargetMode="External"/><Relationship Id="rId2" Type="http://schemas.openxmlformats.org/officeDocument/2006/relationships/hyperlink" Target="https://home.cs.colorado.edu/~kena/classes/5828/s12/presentation-materials/ghanakotagayatri.pdf"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F452A527-3631-41ED-858D-3777A7D149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peak Pro" panose="020F0502020204030204"/>
              <a:ea typeface="+mn-ea"/>
              <a:cs typeface="+mn-cs"/>
            </a:endParaRPr>
          </a:p>
        </p:txBody>
      </p:sp>
      <p:sp>
        <p:nvSpPr>
          <p:cNvPr id="2" name="Title 1">
            <a:extLst>
              <a:ext uri="{FF2B5EF4-FFF2-40B4-BE49-F238E27FC236}">
                <a16:creationId xmlns:a16="http://schemas.microsoft.com/office/drawing/2014/main" id="{9AB2EA78-AEB3-469B-9025-3B17201A457B}"/>
              </a:ext>
            </a:extLst>
          </p:cNvPr>
          <p:cNvSpPr>
            <a:spLocks noGrp="1"/>
          </p:cNvSpPr>
          <p:nvPr>
            <p:ph type="ctrTitle"/>
          </p:nvPr>
        </p:nvSpPr>
        <p:spPr>
          <a:xfrm>
            <a:off x="6176513" y="639097"/>
            <a:ext cx="5366559" cy="3494791"/>
          </a:xfrm>
        </p:spPr>
        <p:txBody>
          <a:bodyPr>
            <a:normAutofit/>
          </a:bodyPr>
          <a:lstStyle/>
          <a:p>
            <a:r>
              <a:rPr lang="en-US" dirty="0"/>
              <a:t>Automation Testing</a:t>
            </a:r>
          </a:p>
        </p:txBody>
      </p:sp>
      <p:sp>
        <p:nvSpPr>
          <p:cNvPr id="3" name="Subtitle 2">
            <a:extLst>
              <a:ext uri="{FF2B5EF4-FFF2-40B4-BE49-F238E27FC236}">
                <a16:creationId xmlns:a16="http://schemas.microsoft.com/office/drawing/2014/main" id="{255E1F2F-E259-4EA8-9FFD-3A10AF541859}"/>
              </a:ext>
            </a:extLst>
          </p:cNvPr>
          <p:cNvSpPr>
            <a:spLocks noGrp="1"/>
          </p:cNvSpPr>
          <p:nvPr>
            <p:ph type="subTitle" idx="1"/>
          </p:nvPr>
        </p:nvSpPr>
        <p:spPr>
          <a:xfrm>
            <a:off x="6729999" y="4455621"/>
            <a:ext cx="4829101" cy="1238616"/>
          </a:xfrm>
        </p:spPr>
        <p:txBody>
          <a:bodyPr>
            <a:normAutofit/>
          </a:bodyPr>
          <a:lstStyle/>
          <a:p>
            <a:r>
              <a:rPr lang="en-US" dirty="0"/>
              <a:t>Presented by: cuongtm8</a:t>
            </a:r>
          </a:p>
        </p:txBody>
      </p:sp>
      <p:pic>
        <p:nvPicPr>
          <p:cNvPr id="6" name="Picture 5">
            <a:extLst>
              <a:ext uri="{FF2B5EF4-FFF2-40B4-BE49-F238E27FC236}">
                <a16:creationId xmlns:a16="http://schemas.microsoft.com/office/drawing/2014/main" id="{8940CBE3-3F91-419A-A649-32AB388ECA8B}"/>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10"/>
            <a:ext cx="6096000" cy="6857990"/>
          </a:xfrm>
          <a:prstGeom prst="rect">
            <a:avLst/>
          </a:prstGeom>
        </p:spPr>
      </p:pic>
      <p:cxnSp>
        <p:nvCxnSpPr>
          <p:cNvPr id="26" name="Straight Connector 25">
            <a:extLst>
              <a:ext uri="{FF2B5EF4-FFF2-40B4-BE49-F238E27FC236}">
                <a16:creationId xmlns:a16="http://schemas.microsoft.com/office/drawing/2014/main" id="{D28A9C89-B313-458F-9C85-515930A51A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805053" y="4294754"/>
            <a:ext cx="43891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915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80B37-C388-4E50-A217-7A64E6FAF572}"/>
              </a:ext>
            </a:extLst>
          </p:cNvPr>
          <p:cNvSpPr>
            <a:spLocks noGrp="1"/>
          </p:cNvSpPr>
          <p:nvPr>
            <p:ph type="title"/>
          </p:nvPr>
        </p:nvSpPr>
        <p:spPr/>
        <p:txBody>
          <a:bodyPr/>
          <a:lstStyle/>
          <a:p>
            <a:r>
              <a:rPr lang="en-US" dirty="0"/>
              <a:t>What is a Test Framework?</a:t>
            </a:r>
          </a:p>
        </p:txBody>
      </p:sp>
      <p:sp>
        <p:nvSpPr>
          <p:cNvPr id="3" name="Content Placeholder 2">
            <a:extLst>
              <a:ext uri="{FF2B5EF4-FFF2-40B4-BE49-F238E27FC236}">
                <a16:creationId xmlns:a16="http://schemas.microsoft.com/office/drawing/2014/main" id="{C4B69069-2017-4708-A65E-E0AE13EF8C2D}"/>
              </a:ext>
            </a:extLst>
          </p:cNvPr>
          <p:cNvSpPr>
            <a:spLocks noGrp="1"/>
          </p:cNvSpPr>
          <p:nvPr>
            <p:ph idx="1"/>
          </p:nvPr>
        </p:nvSpPr>
        <p:spPr/>
        <p:txBody>
          <a:bodyPr/>
          <a:lstStyle/>
          <a:p>
            <a:r>
              <a:rPr lang="en-US" dirty="0"/>
              <a:t>Before diving into the most common types of frameworks and their benefits, let’s clarify what a test automation framework actually is. </a:t>
            </a:r>
            <a:r>
              <a:rPr lang="en-US" b="1" dirty="0">
                <a:solidFill>
                  <a:srgbClr val="7030A0"/>
                </a:solidFill>
                <a:effectLst>
                  <a:outerShdw blurRad="38100" dist="38100" dir="2700000" algn="tl">
                    <a:srgbClr val="000000">
                      <a:alpha val="43137"/>
                    </a:srgbClr>
                  </a:outerShdw>
                </a:effectLst>
              </a:rPr>
              <a:t>A testing framework </a:t>
            </a:r>
            <a:r>
              <a:rPr lang="en-US" dirty="0"/>
              <a:t>is a set of guidelines or rules used for creating and designing test cases. </a:t>
            </a:r>
            <a:r>
              <a:rPr lang="en-US" b="1" dirty="0">
                <a:solidFill>
                  <a:srgbClr val="7030A0"/>
                </a:solidFill>
                <a:effectLst>
                  <a:outerShdw blurRad="38100" dist="38100" dir="2700000" algn="tl">
                    <a:srgbClr val="000000">
                      <a:alpha val="43137"/>
                    </a:srgbClr>
                  </a:outerShdw>
                </a:effectLst>
              </a:rPr>
              <a:t>A framework </a:t>
            </a:r>
            <a:r>
              <a:rPr lang="en-US" dirty="0"/>
              <a:t>is comprised of a combination of practices and tools that are designed to help QA professionals test more efficiently.</a:t>
            </a:r>
          </a:p>
        </p:txBody>
      </p:sp>
    </p:spTree>
    <p:extLst>
      <p:ext uri="{BB962C8B-B14F-4D97-AF65-F5344CB8AC3E}">
        <p14:creationId xmlns:p14="http://schemas.microsoft.com/office/powerpoint/2010/main" val="739483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BFB75-938A-4890-BF94-9CB32875F90B}"/>
              </a:ext>
            </a:extLst>
          </p:cNvPr>
          <p:cNvSpPr>
            <a:spLocks noGrp="1"/>
          </p:cNvSpPr>
          <p:nvPr>
            <p:ph type="title"/>
          </p:nvPr>
        </p:nvSpPr>
        <p:spPr/>
        <p:txBody>
          <a:bodyPr/>
          <a:lstStyle/>
          <a:p>
            <a:r>
              <a:rPr lang="en-US" dirty="0"/>
              <a:t>Benefits of a Test Automation Framework</a:t>
            </a:r>
          </a:p>
        </p:txBody>
      </p:sp>
      <p:sp>
        <p:nvSpPr>
          <p:cNvPr id="3" name="Content Placeholder 2">
            <a:extLst>
              <a:ext uri="{FF2B5EF4-FFF2-40B4-BE49-F238E27FC236}">
                <a16:creationId xmlns:a16="http://schemas.microsoft.com/office/drawing/2014/main" id="{20838D49-A729-4ED9-B4AE-1C3669C2DA99}"/>
              </a:ext>
            </a:extLst>
          </p:cNvPr>
          <p:cNvSpPr>
            <a:spLocks noGrp="1"/>
          </p:cNvSpPr>
          <p:nvPr>
            <p:ph idx="1"/>
          </p:nvPr>
        </p:nvSpPr>
        <p:spPr/>
        <p:txBody>
          <a:bodyPr>
            <a:normAutofit/>
          </a:bodyPr>
          <a:lstStyle/>
          <a:p>
            <a:r>
              <a:rPr lang="en-US" dirty="0"/>
              <a:t>Utilizing a framework for automated testing will increase a team’s test speed and efficiency, improve test accuracy, and will reduce test maintenance costs as well as lower risks. They are essential to an efficient automated testing process for a few key reasons:  </a:t>
            </a:r>
          </a:p>
          <a:p>
            <a:pPr lvl="1">
              <a:buFont typeface="Wingdings" panose="05000000000000000000" pitchFamily="2" charset="2"/>
              <a:buChar char="v"/>
            </a:pPr>
            <a:r>
              <a:rPr lang="en-US" dirty="0"/>
              <a:t>Improved test efficiency</a:t>
            </a:r>
          </a:p>
          <a:p>
            <a:pPr lvl="1">
              <a:buFont typeface="Wingdings" panose="05000000000000000000" pitchFamily="2" charset="2"/>
              <a:buChar char="v"/>
            </a:pPr>
            <a:r>
              <a:rPr lang="en-US" dirty="0"/>
              <a:t>Lower maintenance costs</a:t>
            </a:r>
          </a:p>
          <a:p>
            <a:pPr lvl="1">
              <a:buFont typeface="Wingdings" panose="05000000000000000000" pitchFamily="2" charset="2"/>
              <a:buChar char="v"/>
            </a:pPr>
            <a:r>
              <a:rPr lang="en-US" dirty="0"/>
              <a:t>Minimal manual intervention</a:t>
            </a:r>
          </a:p>
          <a:p>
            <a:pPr lvl="1">
              <a:buFont typeface="Wingdings" panose="05000000000000000000" pitchFamily="2" charset="2"/>
              <a:buChar char="v"/>
            </a:pPr>
            <a:r>
              <a:rPr lang="en-US" dirty="0"/>
              <a:t>Maximum test coverage</a:t>
            </a:r>
          </a:p>
          <a:p>
            <a:pPr lvl="1">
              <a:buFont typeface="Wingdings" panose="05000000000000000000" pitchFamily="2" charset="2"/>
              <a:buChar char="v"/>
            </a:pPr>
            <a:r>
              <a:rPr lang="en-US" dirty="0"/>
              <a:t>Reusability of code</a:t>
            </a:r>
          </a:p>
        </p:txBody>
      </p:sp>
    </p:spTree>
    <p:extLst>
      <p:ext uri="{BB962C8B-B14F-4D97-AF65-F5344CB8AC3E}">
        <p14:creationId xmlns:p14="http://schemas.microsoft.com/office/powerpoint/2010/main" val="3857388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DA48D-A8BA-4D2C-8125-77CE3F7EB968}"/>
              </a:ext>
            </a:extLst>
          </p:cNvPr>
          <p:cNvSpPr>
            <a:spLocks noGrp="1"/>
          </p:cNvSpPr>
          <p:nvPr>
            <p:ph type="title"/>
          </p:nvPr>
        </p:nvSpPr>
        <p:spPr/>
        <p:txBody>
          <a:bodyPr/>
          <a:lstStyle/>
          <a:p>
            <a:r>
              <a:rPr lang="en-US" dirty="0"/>
              <a:t>Types of Automated Testing Framework</a:t>
            </a:r>
          </a:p>
        </p:txBody>
      </p:sp>
      <p:pic>
        <p:nvPicPr>
          <p:cNvPr id="4" name="Online Media 3" title="Types of automated testing framework - Introduction">
            <a:hlinkClick r:id="" action="ppaction://media"/>
            <a:extLst>
              <a:ext uri="{FF2B5EF4-FFF2-40B4-BE49-F238E27FC236}">
                <a16:creationId xmlns:a16="http://schemas.microsoft.com/office/drawing/2014/main" id="{4C4FFC3F-0163-4EE6-AA79-7EE15B4E0173}"/>
              </a:ext>
            </a:extLst>
          </p:cNvPr>
          <p:cNvPicPr>
            <a:picLocks noGrp="1" noRot="1" noChangeAspect="1"/>
          </p:cNvPicPr>
          <p:nvPr>
            <p:ph idx="1"/>
            <a:videoFile r:link="rId1"/>
            <p:custDataLst>
              <p:tags r:id="rId2"/>
            </p:custDataLst>
          </p:nvPr>
        </p:nvPicPr>
        <p:blipFill>
          <a:blip r:embed="rId4"/>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1914931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301B5-5A65-4D3B-918B-DE91841CB04E}"/>
              </a:ext>
            </a:extLst>
          </p:cNvPr>
          <p:cNvSpPr>
            <a:spLocks noGrp="1"/>
          </p:cNvSpPr>
          <p:nvPr>
            <p:ph type="title"/>
          </p:nvPr>
        </p:nvSpPr>
        <p:spPr/>
        <p:txBody>
          <a:bodyPr/>
          <a:lstStyle/>
          <a:p>
            <a:r>
              <a:rPr lang="en-US" dirty="0"/>
              <a:t>Linear Framework</a:t>
            </a:r>
          </a:p>
        </p:txBody>
      </p:sp>
      <p:pic>
        <p:nvPicPr>
          <p:cNvPr id="4" name="Online Media 3" title="Types of automated testing framework - Linear">
            <a:hlinkClick r:id="" action="ppaction://media"/>
            <a:extLst>
              <a:ext uri="{FF2B5EF4-FFF2-40B4-BE49-F238E27FC236}">
                <a16:creationId xmlns:a16="http://schemas.microsoft.com/office/drawing/2014/main" id="{F6DD390A-220D-4E9A-8164-A915C111397A}"/>
              </a:ext>
            </a:extLst>
          </p:cNvPr>
          <p:cNvPicPr>
            <a:picLocks noGrp="1" noRot="1" noChangeAspect="1"/>
          </p:cNvPicPr>
          <p:nvPr>
            <p:ph idx="1"/>
            <a:videoFile r:link="rId1"/>
            <p:custDataLst>
              <p:tags r:id="rId2"/>
            </p:custDataLst>
          </p:nvPr>
        </p:nvPicPr>
        <p:blipFill>
          <a:blip r:embed="rId4"/>
          <a:stretch>
            <a:fillRect/>
          </a:stretch>
        </p:blipFill>
        <p:spPr>
          <a:xfrm>
            <a:off x="2704583" y="2125324"/>
            <a:ext cx="6656387" cy="3760788"/>
          </a:xfrm>
          <a:prstGeom prst="rect">
            <a:avLst/>
          </a:prstGeom>
        </p:spPr>
      </p:pic>
    </p:spTree>
    <p:extLst>
      <p:ext uri="{BB962C8B-B14F-4D97-AF65-F5344CB8AC3E}">
        <p14:creationId xmlns:p14="http://schemas.microsoft.com/office/powerpoint/2010/main" val="2175051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FBFBD-B931-46A0-9302-91DB177A1AC6}"/>
              </a:ext>
            </a:extLst>
          </p:cNvPr>
          <p:cNvSpPr>
            <a:spLocks noGrp="1"/>
          </p:cNvSpPr>
          <p:nvPr>
            <p:ph type="title"/>
          </p:nvPr>
        </p:nvSpPr>
        <p:spPr/>
        <p:txBody>
          <a:bodyPr/>
          <a:lstStyle/>
          <a:p>
            <a:r>
              <a:rPr lang="en-US" dirty="0"/>
              <a:t>Modular Framework</a:t>
            </a:r>
          </a:p>
        </p:txBody>
      </p:sp>
      <p:pic>
        <p:nvPicPr>
          <p:cNvPr id="4" name="Online Media 3" title="Types of Automated Testing Frameworks  - Modular">
            <a:hlinkClick r:id="" action="ppaction://media"/>
            <a:extLst>
              <a:ext uri="{FF2B5EF4-FFF2-40B4-BE49-F238E27FC236}">
                <a16:creationId xmlns:a16="http://schemas.microsoft.com/office/drawing/2014/main" id="{02F6A19A-272B-474F-8564-FB4F82AF7513}"/>
              </a:ext>
            </a:extLst>
          </p:cNvPr>
          <p:cNvPicPr>
            <a:picLocks noGrp="1" noRot="1" noChangeAspect="1"/>
          </p:cNvPicPr>
          <p:nvPr>
            <p:ph idx="1"/>
            <a:videoFile r:link="rId1"/>
            <p:custDataLst>
              <p:tags r:id="rId2"/>
            </p:custDataLst>
          </p:nvPr>
        </p:nvPicPr>
        <p:blipFill>
          <a:blip r:embed="rId4"/>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2723408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73376-84EC-45A9-B9BA-D396D4C97D94}"/>
              </a:ext>
            </a:extLst>
          </p:cNvPr>
          <p:cNvSpPr>
            <a:spLocks noGrp="1"/>
          </p:cNvSpPr>
          <p:nvPr>
            <p:ph type="title"/>
          </p:nvPr>
        </p:nvSpPr>
        <p:spPr/>
        <p:txBody>
          <a:bodyPr/>
          <a:lstStyle/>
          <a:p>
            <a:r>
              <a:rPr lang="en-US" dirty="0"/>
              <a:t>Library-based Framework</a:t>
            </a:r>
          </a:p>
        </p:txBody>
      </p:sp>
      <p:sp>
        <p:nvSpPr>
          <p:cNvPr id="3" name="Content Placeholder 2">
            <a:extLst>
              <a:ext uri="{FF2B5EF4-FFF2-40B4-BE49-F238E27FC236}">
                <a16:creationId xmlns:a16="http://schemas.microsoft.com/office/drawing/2014/main" id="{8866D068-C3BA-4D49-9EBA-30410B3C50C8}"/>
              </a:ext>
            </a:extLst>
          </p:cNvPr>
          <p:cNvSpPr>
            <a:spLocks noGrp="1"/>
          </p:cNvSpPr>
          <p:nvPr>
            <p:ph idx="1"/>
          </p:nvPr>
        </p:nvSpPr>
        <p:spPr/>
        <p:txBody>
          <a:bodyPr/>
          <a:lstStyle/>
          <a:p>
            <a:r>
              <a:rPr lang="en-US" sz="1800" dirty="0"/>
              <a:t>Library Architecture Testing framework aka “Structured Scripting” or “Functional Decomposition”</a:t>
            </a:r>
          </a:p>
          <a:p>
            <a:r>
              <a:rPr lang="en-US" sz="1800" dirty="0"/>
              <a:t>It is based on the modular framework with some additional advantages.</a:t>
            </a:r>
          </a:p>
          <a:p>
            <a:r>
              <a:rPr lang="en-US" sz="1800" dirty="0"/>
              <a:t>In the modular testing framework, we divide the application under test into modules whereas here we identify the common tasks and grouped them into functions. Once the functions are grouped then these groups will be kept in a library. The test scripts reuse these libraries to create new test cases.</a:t>
            </a:r>
          </a:p>
          <a:p>
            <a:endParaRPr lang="en-US" dirty="0"/>
          </a:p>
        </p:txBody>
      </p:sp>
      <p:graphicFrame>
        <p:nvGraphicFramePr>
          <p:cNvPr id="4" name="Table 4">
            <a:extLst>
              <a:ext uri="{FF2B5EF4-FFF2-40B4-BE49-F238E27FC236}">
                <a16:creationId xmlns:a16="http://schemas.microsoft.com/office/drawing/2014/main" id="{07D5E526-DD1B-4ABD-8DD3-13A345472906}"/>
              </a:ext>
            </a:extLst>
          </p:cNvPr>
          <p:cNvGraphicFramePr>
            <a:graphicFrameLocks noGrp="1"/>
          </p:cNvGraphicFramePr>
          <p:nvPr>
            <p:extLst>
              <p:ext uri="{D42A27DB-BD31-4B8C-83A1-F6EECF244321}">
                <p14:modId xmlns:p14="http://schemas.microsoft.com/office/powerpoint/2010/main" val="2447125250"/>
              </p:ext>
            </p:extLst>
          </p:nvPr>
        </p:nvGraphicFramePr>
        <p:xfrm>
          <a:off x="1136015" y="4108450"/>
          <a:ext cx="9980930" cy="1675263"/>
        </p:xfrm>
        <a:graphic>
          <a:graphicData uri="http://schemas.openxmlformats.org/drawingml/2006/table">
            <a:tbl>
              <a:tblPr firstRow="1" bandRow="1">
                <a:tableStyleId>{793D81CF-94F2-401A-BA57-92F5A7B2D0C5}</a:tableStyleId>
              </a:tblPr>
              <a:tblGrid>
                <a:gridCol w="4990465">
                  <a:extLst>
                    <a:ext uri="{9D8B030D-6E8A-4147-A177-3AD203B41FA5}">
                      <a16:colId xmlns:a16="http://schemas.microsoft.com/office/drawing/2014/main" val="1825289090"/>
                    </a:ext>
                  </a:extLst>
                </a:gridCol>
                <a:gridCol w="4990465">
                  <a:extLst>
                    <a:ext uri="{9D8B030D-6E8A-4147-A177-3AD203B41FA5}">
                      <a16:colId xmlns:a16="http://schemas.microsoft.com/office/drawing/2014/main" val="1514397214"/>
                    </a:ext>
                  </a:extLst>
                </a:gridCol>
              </a:tblGrid>
              <a:tr h="368300">
                <a:tc>
                  <a:txBody>
                    <a:bodyPr/>
                    <a:lstStyle/>
                    <a:p>
                      <a:pPr algn="ctr"/>
                      <a:r>
                        <a:rPr lang="en-US" dirty="0"/>
                        <a:t>Advantages</a:t>
                      </a:r>
                    </a:p>
                  </a:txBody>
                  <a:tcPr/>
                </a:tc>
                <a:tc>
                  <a:txBody>
                    <a:bodyPr/>
                    <a:lstStyle/>
                    <a:p>
                      <a:pPr algn="ctr"/>
                      <a:r>
                        <a:rPr lang="en-US" dirty="0"/>
                        <a:t>Disadvantages</a:t>
                      </a:r>
                    </a:p>
                  </a:txBody>
                  <a:tcPr/>
                </a:tc>
                <a:extLst>
                  <a:ext uri="{0D108BD9-81ED-4DB2-BD59-A6C34878D82A}">
                    <a16:rowId xmlns:a16="http://schemas.microsoft.com/office/drawing/2014/main" val="2811688530"/>
                  </a:ext>
                </a:extLst>
              </a:tr>
              <a:tr h="1306963">
                <a:tc>
                  <a:txBody>
                    <a:bodyPr/>
                    <a:lstStyle/>
                    <a:p>
                      <a:pPr marL="285750" indent="-285750">
                        <a:buFont typeface="Arial" panose="020B0604020202020204" pitchFamily="34" charset="0"/>
                        <a:buChar char="•"/>
                      </a:pPr>
                      <a:r>
                        <a:rPr lang="en-US" dirty="0"/>
                        <a:t>Script maintenance is simple</a:t>
                      </a:r>
                    </a:p>
                    <a:p>
                      <a:pPr marL="285750" indent="-285750">
                        <a:buFont typeface="Arial" panose="020B0604020202020204" pitchFamily="34" charset="0"/>
                        <a:buChar char="•"/>
                      </a:pPr>
                      <a:r>
                        <a:rPr lang="en-US" dirty="0"/>
                        <a:t>Easy to scalable</a:t>
                      </a:r>
                    </a:p>
                    <a:p>
                      <a:pPr marL="285750" indent="-285750">
                        <a:buFont typeface="Arial" panose="020B0604020202020204" pitchFamily="34" charset="0"/>
                        <a:buChar char="•"/>
                      </a:pPr>
                      <a:r>
                        <a:rPr lang="en-US" dirty="0"/>
                        <a:t>Functions library is reusable and it can be reusable</a:t>
                      </a:r>
                    </a:p>
                  </a:txBody>
                  <a:tcPr/>
                </a:tc>
                <a:tc>
                  <a:txBody>
                    <a:bodyPr/>
                    <a:lstStyle/>
                    <a:p>
                      <a:pPr marL="285750" indent="-285750">
                        <a:buFont typeface="Arial" panose="020B0604020202020204" pitchFamily="34" charset="0"/>
                        <a:buChar char="•"/>
                      </a:pPr>
                      <a:r>
                        <a:rPr lang="en-US" dirty="0"/>
                        <a:t>Coding skills are required</a:t>
                      </a:r>
                    </a:p>
                    <a:p>
                      <a:pPr marL="285750" indent="-285750">
                        <a:buFont typeface="Arial" panose="020B0604020202020204" pitchFamily="34" charset="0"/>
                        <a:buChar char="•"/>
                      </a:pPr>
                      <a:r>
                        <a:rPr lang="en-US" dirty="0"/>
                        <a:t>It takes more time to prepare test scripts</a:t>
                      </a:r>
                    </a:p>
                    <a:p>
                      <a:pPr marL="285750" indent="-285750">
                        <a:buFont typeface="Arial" panose="020B0604020202020204" pitchFamily="34" charset="0"/>
                        <a:buChar char="•"/>
                      </a:pPr>
                      <a:r>
                        <a:rPr lang="en-US" dirty="0"/>
                        <a:t>A fixed set of test data is hardcoded within the scripts</a:t>
                      </a:r>
                    </a:p>
                  </a:txBody>
                  <a:tcPr/>
                </a:tc>
                <a:extLst>
                  <a:ext uri="{0D108BD9-81ED-4DB2-BD59-A6C34878D82A}">
                    <a16:rowId xmlns:a16="http://schemas.microsoft.com/office/drawing/2014/main" val="1556582716"/>
                  </a:ext>
                </a:extLst>
              </a:tr>
            </a:tbl>
          </a:graphicData>
        </a:graphic>
      </p:graphicFrame>
    </p:spTree>
    <p:extLst>
      <p:ext uri="{BB962C8B-B14F-4D97-AF65-F5344CB8AC3E}">
        <p14:creationId xmlns:p14="http://schemas.microsoft.com/office/powerpoint/2010/main" val="3568529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40C9B-481F-43D0-B0C6-6081761F4201}"/>
              </a:ext>
            </a:extLst>
          </p:cNvPr>
          <p:cNvSpPr>
            <a:spLocks noGrp="1"/>
          </p:cNvSpPr>
          <p:nvPr>
            <p:ph type="title"/>
          </p:nvPr>
        </p:nvSpPr>
        <p:spPr/>
        <p:txBody>
          <a:bodyPr/>
          <a:lstStyle/>
          <a:p>
            <a:r>
              <a:rPr lang="en-US" dirty="0"/>
              <a:t>Data-Driven Framework</a:t>
            </a:r>
          </a:p>
        </p:txBody>
      </p:sp>
      <p:pic>
        <p:nvPicPr>
          <p:cNvPr id="4" name="Online Media 3" title="Data-Driven Testing | Web Testing With TestComplete">
            <a:hlinkClick r:id="" action="ppaction://media"/>
            <a:extLst>
              <a:ext uri="{FF2B5EF4-FFF2-40B4-BE49-F238E27FC236}">
                <a16:creationId xmlns:a16="http://schemas.microsoft.com/office/drawing/2014/main" id="{8D767AAC-A07B-437E-B366-3BCBB826F8A9}"/>
              </a:ext>
            </a:extLst>
          </p:cNvPr>
          <p:cNvPicPr>
            <a:picLocks noGrp="1" noRot="1" noChangeAspect="1"/>
          </p:cNvPicPr>
          <p:nvPr>
            <p:ph idx="1"/>
            <a:videoFile r:link="rId1"/>
            <p:custDataLst>
              <p:tags r:id="rId2"/>
            </p:custDataLst>
          </p:nvPr>
        </p:nvPicPr>
        <p:blipFill>
          <a:blip r:embed="rId4"/>
          <a:stretch>
            <a:fillRect/>
          </a:stretch>
        </p:blipFill>
        <p:spPr>
          <a:xfrm>
            <a:off x="2935752" y="2133885"/>
            <a:ext cx="6656387" cy="3760788"/>
          </a:xfrm>
          <a:prstGeom prst="rect">
            <a:avLst/>
          </a:prstGeom>
        </p:spPr>
      </p:pic>
    </p:spTree>
    <p:extLst>
      <p:ext uri="{BB962C8B-B14F-4D97-AF65-F5344CB8AC3E}">
        <p14:creationId xmlns:p14="http://schemas.microsoft.com/office/powerpoint/2010/main" val="182230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143EF-E7D2-4593-88D4-2B9AD4763184}"/>
              </a:ext>
            </a:extLst>
          </p:cNvPr>
          <p:cNvSpPr>
            <a:spLocks noGrp="1"/>
          </p:cNvSpPr>
          <p:nvPr>
            <p:ph type="title"/>
          </p:nvPr>
        </p:nvSpPr>
        <p:spPr/>
        <p:txBody>
          <a:bodyPr/>
          <a:lstStyle/>
          <a:p>
            <a:r>
              <a:rPr lang="en-US" dirty="0"/>
              <a:t>Keyword Driven Framework</a:t>
            </a:r>
          </a:p>
        </p:txBody>
      </p:sp>
      <p:sp>
        <p:nvSpPr>
          <p:cNvPr id="3" name="Content Placeholder 2">
            <a:extLst>
              <a:ext uri="{FF2B5EF4-FFF2-40B4-BE49-F238E27FC236}">
                <a16:creationId xmlns:a16="http://schemas.microsoft.com/office/drawing/2014/main" id="{CC633615-0AA2-4F40-9808-D0F71A84CCBD}"/>
              </a:ext>
            </a:extLst>
          </p:cNvPr>
          <p:cNvSpPr>
            <a:spLocks noGrp="1"/>
          </p:cNvSpPr>
          <p:nvPr>
            <p:ph idx="1"/>
          </p:nvPr>
        </p:nvSpPr>
        <p:spPr/>
        <p:txBody>
          <a:bodyPr>
            <a:normAutofit/>
          </a:bodyPr>
          <a:lstStyle/>
          <a:p>
            <a:r>
              <a:rPr lang="en-US" sz="1800" dirty="0"/>
              <a:t>It is also known as table-driven testing or action word based testing. </a:t>
            </a:r>
          </a:p>
          <a:p>
            <a:r>
              <a:rPr lang="en-US" sz="1800" dirty="0"/>
              <a:t>In Keyword-driven testing, we use a table format to define keywords or action words for each function or method that we would execute. It performs automation test scripts based on the keywords specified in the excel sheet.</a:t>
            </a:r>
          </a:p>
          <a:p>
            <a:r>
              <a:rPr lang="en-US" sz="1800" dirty="0"/>
              <a:t>By using this Framework, testers can work with keywords to develop any test automation script, testers with less programming knowledge would also be able to work on the test scripts.</a:t>
            </a:r>
          </a:p>
          <a:p>
            <a:r>
              <a:rPr lang="en-US" sz="1800" dirty="0"/>
              <a:t>For more details, please visit this page: </a:t>
            </a:r>
            <a:r>
              <a:rPr lang="en-US" sz="1800" dirty="0">
                <a:hlinkClick r:id="rId2"/>
              </a:rPr>
              <a:t>https://www.guru99.com/keyword-driven-testing.html</a:t>
            </a:r>
            <a:endParaRPr lang="en-US" sz="1800" dirty="0"/>
          </a:p>
          <a:p>
            <a:pPr marL="0" indent="0">
              <a:buNone/>
            </a:pPr>
            <a:endParaRPr lang="en-US" sz="1800" dirty="0"/>
          </a:p>
        </p:txBody>
      </p:sp>
    </p:spTree>
    <p:extLst>
      <p:ext uri="{BB962C8B-B14F-4D97-AF65-F5344CB8AC3E}">
        <p14:creationId xmlns:p14="http://schemas.microsoft.com/office/powerpoint/2010/main" val="13705225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02482-B8BA-47D9-BF6B-1EF65880EA4D}"/>
              </a:ext>
            </a:extLst>
          </p:cNvPr>
          <p:cNvSpPr>
            <a:spLocks noGrp="1"/>
          </p:cNvSpPr>
          <p:nvPr>
            <p:ph type="title"/>
          </p:nvPr>
        </p:nvSpPr>
        <p:spPr/>
        <p:txBody>
          <a:bodyPr/>
          <a:lstStyle/>
          <a:p>
            <a:r>
              <a:rPr lang="en-US" dirty="0"/>
              <a:t>Hybrid Framework</a:t>
            </a:r>
          </a:p>
        </p:txBody>
      </p:sp>
      <p:sp>
        <p:nvSpPr>
          <p:cNvPr id="3" name="Content Placeholder 2">
            <a:extLst>
              <a:ext uri="{FF2B5EF4-FFF2-40B4-BE49-F238E27FC236}">
                <a16:creationId xmlns:a16="http://schemas.microsoft.com/office/drawing/2014/main" id="{BC46E7B3-B790-45F0-AF9C-237ACB2C80F0}"/>
              </a:ext>
            </a:extLst>
          </p:cNvPr>
          <p:cNvSpPr>
            <a:spLocks noGrp="1"/>
          </p:cNvSpPr>
          <p:nvPr>
            <p:ph idx="1"/>
          </p:nvPr>
        </p:nvSpPr>
        <p:spPr/>
        <p:txBody>
          <a:bodyPr/>
          <a:lstStyle/>
          <a:p>
            <a:r>
              <a:rPr lang="en-US" sz="1800" dirty="0"/>
              <a:t>As with most testing processes today, automated testing frameworks have started to become integrated and overlap with one another. As the name suggests, a hybrid framework is a combination of any of the previously mentioned frameworks set up to leverage the advantages of some and mitigate the weaknesses of others.</a:t>
            </a:r>
          </a:p>
          <a:p>
            <a:r>
              <a:rPr lang="en-US" sz="1800" dirty="0"/>
              <a:t>Every application is different, and so should the processes used to test them. As more teams move to an agile model, setting up a flexible framework for automated testing is crucial. A hybrid framework can be more easily adapted to get the best test results.</a:t>
            </a:r>
          </a:p>
        </p:txBody>
      </p:sp>
    </p:spTree>
    <p:extLst>
      <p:ext uri="{BB962C8B-B14F-4D97-AF65-F5344CB8AC3E}">
        <p14:creationId xmlns:p14="http://schemas.microsoft.com/office/powerpoint/2010/main" val="41728731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B1D4B-477C-4721-9518-1524D143E427}"/>
              </a:ext>
            </a:extLst>
          </p:cNvPr>
          <p:cNvSpPr>
            <a:spLocks noGrp="1"/>
          </p:cNvSpPr>
          <p:nvPr>
            <p:ph type="title"/>
          </p:nvPr>
        </p:nvSpPr>
        <p:spPr/>
        <p:txBody>
          <a:bodyPr/>
          <a:lstStyle/>
          <a:p>
            <a:r>
              <a:rPr lang="en-US" dirty="0"/>
              <a:t>Behavior Driven Development Framework</a:t>
            </a:r>
          </a:p>
        </p:txBody>
      </p:sp>
      <p:pic>
        <p:nvPicPr>
          <p:cNvPr id="4" name="Online Media 3" title="What is BDD? What is Behavior Driven Development?">
            <a:hlinkClick r:id="" action="ppaction://media"/>
            <a:extLst>
              <a:ext uri="{FF2B5EF4-FFF2-40B4-BE49-F238E27FC236}">
                <a16:creationId xmlns:a16="http://schemas.microsoft.com/office/drawing/2014/main" id="{E76E0B4B-8DDD-4025-8F2E-BF630B3DA486}"/>
              </a:ext>
            </a:extLst>
          </p:cNvPr>
          <p:cNvPicPr>
            <a:picLocks noGrp="1" noRot="1" noChangeAspect="1"/>
          </p:cNvPicPr>
          <p:nvPr>
            <p:ph idx="1"/>
            <a:videoFile r:link="rId1"/>
            <p:custDataLst>
              <p:tags r:id="rId2"/>
            </p:custDataLst>
          </p:nvPr>
        </p:nvPicPr>
        <p:blipFill>
          <a:blip r:embed="rId4"/>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53538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CFB35-E68E-4C4C-856D-3943D41A213C}"/>
              </a:ext>
            </a:extLst>
          </p:cNvPr>
          <p:cNvSpPr>
            <a:spLocks noGrp="1"/>
          </p:cNvSpPr>
          <p:nvPr>
            <p:ph type="title"/>
          </p:nvPr>
        </p:nvSpPr>
        <p:spPr/>
        <p:txBody>
          <a:bodyPr/>
          <a:lstStyle/>
          <a:p>
            <a:r>
              <a:rPr lang="en-US" dirty="0"/>
              <a:t>Development Cycle</a:t>
            </a:r>
          </a:p>
        </p:txBody>
      </p:sp>
      <p:pic>
        <p:nvPicPr>
          <p:cNvPr id="4" name="Content Placeholder 3">
            <a:extLst>
              <a:ext uri="{FF2B5EF4-FFF2-40B4-BE49-F238E27FC236}">
                <a16:creationId xmlns:a16="http://schemas.microsoft.com/office/drawing/2014/main" id="{278FFE31-F95F-4222-AA9A-6DCB21EFF01A}"/>
              </a:ext>
            </a:extLst>
          </p:cNvPr>
          <p:cNvPicPr>
            <a:picLocks noGrp="1" noChangeAspect="1"/>
          </p:cNvPicPr>
          <p:nvPr>
            <p:ph idx="1"/>
          </p:nvPr>
        </p:nvPicPr>
        <p:blipFill>
          <a:blip r:embed="rId2"/>
          <a:stretch>
            <a:fillRect/>
          </a:stretch>
        </p:blipFill>
        <p:spPr>
          <a:xfrm>
            <a:off x="1976166" y="2108200"/>
            <a:ext cx="8299993" cy="3760788"/>
          </a:xfrm>
          <a:prstGeom prst="rect">
            <a:avLst/>
          </a:prstGeom>
        </p:spPr>
      </p:pic>
    </p:spTree>
    <p:extLst>
      <p:ext uri="{BB962C8B-B14F-4D97-AF65-F5344CB8AC3E}">
        <p14:creationId xmlns:p14="http://schemas.microsoft.com/office/powerpoint/2010/main" val="7533382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82CF3-82EE-41C1-BA67-F65A72EE0A37}"/>
              </a:ext>
            </a:extLst>
          </p:cNvPr>
          <p:cNvSpPr>
            <a:spLocks noGrp="1"/>
          </p:cNvSpPr>
          <p:nvPr>
            <p:ph type="title"/>
          </p:nvPr>
        </p:nvSpPr>
        <p:spPr/>
        <p:txBody>
          <a:bodyPr/>
          <a:lstStyle/>
          <a:p>
            <a:r>
              <a:rPr lang="en-US" dirty="0"/>
              <a:t>More about Automated Testing Framework</a:t>
            </a:r>
          </a:p>
        </p:txBody>
      </p:sp>
      <p:sp>
        <p:nvSpPr>
          <p:cNvPr id="3" name="Content Placeholder 2">
            <a:extLst>
              <a:ext uri="{FF2B5EF4-FFF2-40B4-BE49-F238E27FC236}">
                <a16:creationId xmlns:a16="http://schemas.microsoft.com/office/drawing/2014/main" id="{E43CF61D-EF0B-4903-A909-B498779D675B}"/>
              </a:ext>
            </a:extLst>
          </p:cNvPr>
          <p:cNvSpPr>
            <a:spLocks noGrp="1"/>
          </p:cNvSpPr>
          <p:nvPr>
            <p:ph idx="1"/>
          </p:nvPr>
        </p:nvSpPr>
        <p:spPr/>
        <p:txBody>
          <a:bodyPr/>
          <a:lstStyle/>
          <a:p>
            <a:r>
              <a:rPr lang="en-US" dirty="0">
                <a:hlinkClick r:id="rId2"/>
              </a:rPr>
              <a:t>https://smartbear.com/learn/automated-testing/test-automation-frameworks/</a:t>
            </a:r>
            <a:endParaRPr lang="en-US" dirty="0"/>
          </a:p>
          <a:p>
            <a:r>
              <a:rPr lang="en-US" dirty="0">
                <a:hlinkClick r:id="rId3"/>
              </a:rPr>
              <a:t>https://www.testim.io/blog/test-automation-frameworks/</a:t>
            </a:r>
            <a:endParaRPr lang="en-US" dirty="0"/>
          </a:p>
          <a:p>
            <a:endParaRPr lang="en-US" dirty="0"/>
          </a:p>
        </p:txBody>
      </p:sp>
    </p:spTree>
    <p:extLst>
      <p:ext uri="{BB962C8B-B14F-4D97-AF65-F5344CB8AC3E}">
        <p14:creationId xmlns:p14="http://schemas.microsoft.com/office/powerpoint/2010/main" val="14999031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3F86D-D66C-49B8-B3A7-460377DC5340}"/>
              </a:ext>
            </a:extLst>
          </p:cNvPr>
          <p:cNvSpPr>
            <a:spLocks noGrp="1"/>
          </p:cNvSpPr>
          <p:nvPr>
            <p:ph type="title"/>
          </p:nvPr>
        </p:nvSpPr>
        <p:spPr/>
        <p:txBody>
          <a:bodyPr/>
          <a:lstStyle/>
          <a:p>
            <a:r>
              <a:rPr lang="en-US" dirty="0"/>
              <a:t>What is Continuous Testing?</a:t>
            </a:r>
          </a:p>
        </p:txBody>
      </p:sp>
      <p:sp>
        <p:nvSpPr>
          <p:cNvPr id="3" name="Content Placeholder 2">
            <a:extLst>
              <a:ext uri="{FF2B5EF4-FFF2-40B4-BE49-F238E27FC236}">
                <a16:creationId xmlns:a16="http://schemas.microsoft.com/office/drawing/2014/main" id="{B6F7E2A2-A264-472F-B0E1-5EEE1FE9D5B1}"/>
              </a:ext>
            </a:extLst>
          </p:cNvPr>
          <p:cNvSpPr>
            <a:spLocks noGrp="1"/>
          </p:cNvSpPr>
          <p:nvPr>
            <p:ph idx="1"/>
          </p:nvPr>
        </p:nvSpPr>
        <p:spPr>
          <a:xfrm>
            <a:off x="1097280" y="2108201"/>
            <a:ext cx="4814570" cy="3760891"/>
          </a:xfrm>
        </p:spPr>
        <p:txBody>
          <a:bodyPr/>
          <a:lstStyle/>
          <a:p>
            <a:r>
              <a:rPr lang="en-US" dirty="0">
                <a:hlinkClick r:id="rId2"/>
              </a:rPr>
              <a:t>Continuous Testing </a:t>
            </a:r>
            <a:r>
              <a:rPr lang="en-US" dirty="0"/>
              <a:t>is the process of executing automated tests as part of the software delivery pipeline in order to obtain feedback on the business risks associated with a software release candidate as rapidly as possible. It evolves and extends </a:t>
            </a:r>
            <a:r>
              <a:rPr lang="en-US" dirty="0">
                <a:hlinkClick r:id="rId3"/>
              </a:rPr>
              <a:t>test automation</a:t>
            </a:r>
            <a:r>
              <a:rPr lang="en-US" dirty="0"/>
              <a:t> to address the increased complexity and pace of modern application development and delivery.</a:t>
            </a:r>
          </a:p>
        </p:txBody>
      </p:sp>
      <p:pic>
        <p:nvPicPr>
          <p:cNvPr id="4" name="Picture 3">
            <a:extLst>
              <a:ext uri="{FF2B5EF4-FFF2-40B4-BE49-F238E27FC236}">
                <a16:creationId xmlns:a16="http://schemas.microsoft.com/office/drawing/2014/main" id="{E96AFDC7-85BD-4295-9A73-1CF7537891BB}"/>
              </a:ext>
            </a:extLst>
          </p:cNvPr>
          <p:cNvPicPr>
            <a:picLocks noChangeAspect="1"/>
          </p:cNvPicPr>
          <p:nvPr/>
        </p:nvPicPr>
        <p:blipFill>
          <a:blip r:embed="rId4"/>
          <a:stretch>
            <a:fillRect/>
          </a:stretch>
        </p:blipFill>
        <p:spPr>
          <a:xfrm>
            <a:off x="6034018" y="2160588"/>
            <a:ext cx="5121662" cy="2536823"/>
          </a:xfrm>
          <a:prstGeom prst="rect">
            <a:avLst/>
          </a:prstGeom>
        </p:spPr>
      </p:pic>
    </p:spTree>
    <p:extLst>
      <p:ext uri="{BB962C8B-B14F-4D97-AF65-F5344CB8AC3E}">
        <p14:creationId xmlns:p14="http://schemas.microsoft.com/office/powerpoint/2010/main" val="2815968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1CBAF-93AA-463A-8707-CA43D2AD8B2A}"/>
              </a:ext>
            </a:extLst>
          </p:cNvPr>
          <p:cNvSpPr>
            <a:spLocks noGrp="1"/>
          </p:cNvSpPr>
          <p:nvPr>
            <p:ph type="title"/>
          </p:nvPr>
        </p:nvSpPr>
        <p:spPr/>
        <p:txBody>
          <a:bodyPr/>
          <a:lstStyle/>
          <a:p>
            <a:r>
              <a:rPr lang="en-US" dirty="0"/>
              <a:t>Continuous Testing Definition: 14 Key Points</a:t>
            </a:r>
          </a:p>
        </p:txBody>
      </p:sp>
      <p:sp>
        <p:nvSpPr>
          <p:cNvPr id="3" name="Content Placeholder 2">
            <a:extLst>
              <a:ext uri="{FF2B5EF4-FFF2-40B4-BE49-F238E27FC236}">
                <a16:creationId xmlns:a16="http://schemas.microsoft.com/office/drawing/2014/main" id="{1B3E4F22-6550-4619-B04A-484ED41EE282}"/>
              </a:ext>
            </a:extLst>
          </p:cNvPr>
          <p:cNvSpPr>
            <a:spLocks noGrp="1"/>
          </p:cNvSpPr>
          <p:nvPr>
            <p:ph idx="1"/>
          </p:nvPr>
        </p:nvSpPr>
        <p:spPr/>
        <p:txBody>
          <a:bodyPr>
            <a:normAutofit fontScale="85000" lnSpcReduction="20000"/>
          </a:bodyPr>
          <a:lstStyle/>
          <a:p>
            <a:r>
              <a:rPr lang="en-US" dirty="0"/>
              <a:t>1. Continuous Testing’s primary goal is assessing business risk coverage</a:t>
            </a:r>
          </a:p>
          <a:p>
            <a:r>
              <a:rPr lang="en-US" dirty="0"/>
              <a:t>2. Continuous Testing provides instant insight on whether a release candidate is too risky to proceed through the delivery pipeline</a:t>
            </a:r>
          </a:p>
          <a:p>
            <a:r>
              <a:rPr lang="en-US" dirty="0"/>
              <a:t>3. Continuous Testing establishes a safety net that helps the team protect the user experience in accelerated development processes and avoid software failure headlines</a:t>
            </a:r>
          </a:p>
          <a:p>
            <a:r>
              <a:rPr lang="en-US" dirty="0"/>
              <a:t>4. Continuous Testing expects testing to be embedded within the development process, not tacked on at the end</a:t>
            </a:r>
          </a:p>
          <a:p>
            <a:r>
              <a:rPr lang="en-US" dirty="0"/>
              <a:t>5. Continuous Testing is seamlessly integrated into the software delivery pipeline and DevOps toolchain</a:t>
            </a:r>
          </a:p>
          <a:p>
            <a:r>
              <a:rPr lang="en-US" dirty="0"/>
              <a:t>6. Continuous Testing expects a stable test environment with valid test data to be available for each and every test run</a:t>
            </a:r>
          </a:p>
          <a:p>
            <a:r>
              <a:rPr lang="en-US" dirty="0"/>
              <a:t>7. Continuous Testing embraces everything from “shift left” (unit, component, coverage…) to “shift right” (monitoring/ APM, Testing in Production)</a:t>
            </a:r>
          </a:p>
        </p:txBody>
      </p:sp>
    </p:spTree>
    <p:extLst>
      <p:ext uri="{BB962C8B-B14F-4D97-AF65-F5344CB8AC3E}">
        <p14:creationId xmlns:p14="http://schemas.microsoft.com/office/powerpoint/2010/main" val="1204411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1CBAF-93AA-463A-8707-CA43D2AD8B2A}"/>
              </a:ext>
            </a:extLst>
          </p:cNvPr>
          <p:cNvSpPr>
            <a:spLocks noGrp="1"/>
          </p:cNvSpPr>
          <p:nvPr>
            <p:ph type="title"/>
          </p:nvPr>
        </p:nvSpPr>
        <p:spPr/>
        <p:txBody>
          <a:bodyPr/>
          <a:lstStyle/>
          <a:p>
            <a:r>
              <a:rPr lang="en-US" dirty="0"/>
              <a:t>Continuous Testing Definition: 14 Key Points</a:t>
            </a:r>
          </a:p>
        </p:txBody>
      </p:sp>
      <p:sp>
        <p:nvSpPr>
          <p:cNvPr id="3" name="Content Placeholder 2">
            <a:extLst>
              <a:ext uri="{FF2B5EF4-FFF2-40B4-BE49-F238E27FC236}">
                <a16:creationId xmlns:a16="http://schemas.microsoft.com/office/drawing/2014/main" id="{1B3E4F22-6550-4619-B04A-484ED41EE282}"/>
              </a:ext>
            </a:extLst>
          </p:cNvPr>
          <p:cNvSpPr>
            <a:spLocks noGrp="1"/>
          </p:cNvSpPr>
          <p:nvPr>
            <p:ph idx="1"/>
          </p:nvPr>
        </p:nvSpPr>
        <p:spPr/>
        <p:txBody>
          <a:bodyPr>
            <a:normAutofit fontScale="77500" lnSpcReduction="20000"/>
          </a:bodyPr>
          <a:lstStyle/>
          <a:p>
            <a:r>
              <a:rPr lang="en-US" dirty="0"/>
              <a:t>8. Continuous Testing involves executing the right set of tests at the right stage of the delivery pipeline—without creating a bottleneck</a:t>
            </a:r>
          </a:p>
          <a:p>
            <a:r>
              <a:rPr lang="en-US" dirty="0"/>
              <a:t>9. Continuous Testing delivers actionable feedback appropriate for each stage of the delivery pipeline</a:t>
            </a:r>
          </a:p>
          <a:p>
            <a:r>
              <a:rPr lang="en-US" dirty="0"/>
              <a:t>10. Continuous Testing evaluates each layer of a modern architecture at the appropriate stage of the delivery pipeline</a:t>
            </a:r>
          </a:p>
          <a:p>
            <a:r>
              <a:rPr lang="en-US" dirty="0"/>
              <a:t>11. Continuous Testing includes end-to-end tests that realistically assess the end-user experience across all associated technologies (front-end and back-end)</a:t>
            </a:r>
          </a:p>
          <a:p>
            <a:r>
              <a:rPr lang="en-US" dirty="0"/>
              <a:t>12. Continuous Testing’s tests must be broad enough to detect when an application change inadvertently impacts functionality that users have come to rely on</a:t>
            </a:r>
          </a:p>
          <a:p>
            <a:r>
              <a:rPr lang="en-US" dirty="0"/>
              <a:t>13. Continuous Testing reduces false positives by prioritizing robust, flexible modern test frameworks over brittle scripts</a:t>
            </a:r>
          </a:p>
          <a:p>
            <a:r>
              <a:rPr lang="en-US" dirty="0"/>
              <a:t>14. Continuous Testing involves continuously reviewing and optimizing the test suite to eliminate redundancy and maximize business risk coverage</a:t>
            </a:r>
          </a:p>
        </p:txBody>
      </p:sp>
    </p:spTree>
    <p:extLst>
      <p:ext uri="{BB962C8B-B14F-4D97-AF65-F5344CB8AC3E}">
        <p14:creationId xmlns:p14="http://schemas.microsoft.com/office/powerpoint/2010/main" val="2695598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A4BCB-A226-4A73-8DC0-27BD90A3337C}"/>
              </a:ext>
            </a:extLst>
          </p:cNvPr>
          <p:cNvSpPr>
            <a:spLocks noGrp="1"/>
          </p:cNvSpPr>
          <p:nvPr>
            <p:ph type="title"/>
          </p:nvPr>
        </p:nvSpPr>
        <p:spPr/>
        <p:txBody>
          <a:bodyPr/>
          <a:lstStyle/>
          <a:p>
            <a:r>
              <a:rPr lang="en-US" dirty="0"/>
              <a:t>Continuous Integration/Continuous Delivery (CI/CD)</a:t>
            </a:r>
          </a:p>
        </p:txBody>
      </p:sp>
      <p:pic>
        <p:nvPicPr>
          <p:cNvPr id="4" name="Online Media 3" title="How to deliver code faster with CI/CD">
            <a:hlinkClick r:id="" action="ppaction://media"/>
            <a:extLst>
              <a:ext uri="{FF2B5EF4-FFF2-40B4-BE49-F238E27FC236}">
                <a16:creationId xmlns:a16="http://schemas.microsoft.com/office/drawing/2014/main" id="{FBCAEE5C-F487-450C-A900-05BF4C3E9A50}"/>
              </a:ext>
            </a:extLst>
          </p:cNvPr>
          <p:cNvPicPr>
            <a:picLocks noGrp="1" noRot="1" noChangeAspect="1"/>
          </p:cNvPicPr>
          <p:nvPr>
            <p:ph idx="1"/>
            <a:videoFile r:link="rId1"/>
            <p:custDataLst>
              <p:tags r:id="rId2"/>
            </p:custDataLst>
          </p:nvPr>
        </p:nvPicPr>
        <p:blipFill>
          <a:blip r:embed="rId4"/>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3391405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330AA-BD90-481B-A29E-7651543365A6}"/>
              </a:ext>
            </a:extLst>
          </p:cNvPr>
          <p:cNvSpPr>
            <a:spLocks noGrp="1"/>
          </p:cNvSpPr>
          <p:nvPr>
            <p:ph type="title"/>
          </p:nvPr>
        </p:nvSpPr>
        <p:spPr/>
        <p:txBody>
          <a:bodyPr/>
          <a:lstStyle/>
          <a:p>
            <a:r>
              <a:rPr lang="en-US" dirty="0"/>
              <a:t>DevOps</a:t>
            </a:r>
          </a:p>
        </p:txBody>
      </p:sp>
      <p:pic>
        <p:nvPicPr>
          <p:cNvPr id="10" name="Online Media 9" title="DevOps In 5 Minutes | What Is DevOps?| DevOps Explained | DevOps Tutorial For Beginners |Simplilearn">
            <a:hlinkClick r:id="" action="ppaction://media"/>
            <a:extLst>
              <a:ext uri="{FF2B5EF4-FFF2-40B4-BE49-F238E27FC236}">
                <a16:creationId xmlns:a16="http://schemas.microsoft.com/office/drawing/2014/main" id="{EA311AF3-5D18-4A63-A503-F9E1BA4885B3}"/>
              </a:ext>
            </a:extLst>
          </p:cNvPr>
          <p:cNvPicPr>
            <a:picLocks noGrp="1" noRot="1" noChangeAspect="1"/>
          </p:cNvPicPr>
          <p:nvPr>
            <p:ph idx="1"/>
            <a:videoFile r:link="rId1"/>
            <p:custDataLst>
              <p:tags r:id="rId2"/>
            </p:custDataLst>
          </p:nvPr>
        </p:nvPicPr>
        <p:blipFill>
          <a:blip r:embed="rId4"/>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3267525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47F5C-50EC-416A-AE8C-6F6BB4225673}"/>
              </a:ext>
            </a:extLst>
          </p:cNvPr>
          <p:cNvSpPr>
            <a:spLocks noGrp="1"/>
          </p:cNvSpPr>
          <p:nvPr>
            <p:ph type="title"/>
          </p:nvPr>
        </p:nvSpPr>
        <p:spPr>
          <a:xfrm>
            <a:off x="1097280" y="286603"/>
            <a:ext cx="10058400" cy="1450757"/>
          </a:xfrm>
        </p:spPr>
        <p:txBody>
          <a:bodyPr>
            <a:normAutofit/>
          </a:bodyPr>
          <a:lstStyle/>
          <a:p>
            <a:r>
              <a:rPr lang="en-US" dirty="0"/>
              <a:t>CI/CD .vs DevOps .vs Agility</a:t>
            </a:r>
          </a:p>
        </p:txBody>
      </p:sp>
      <p:pic>
        <p:nvPicPr>
          <p:cNvPr id="6" name="Online Media 5" title="Enable Security Into Your CI/CD Pipeline | Synopsys">
            <a:hlinkClick r:id="" action="ppaction://media"/>
            <a:extLst>
              <a:ext uri="{FF2B5EF4-FFF2-40B4-BE49-F238E27FC236}">
                <a16:creationId xmlns:a16="http://schemas.microsoft.com/office/drawing/2014/main" id="{49C423FC-DEAC-4F51-BCC9-33D3712ECC72}"/>
              </a:ext>
            </a:extLst>
          </p:cNvPr>
          <p:cNvPicPr>
            <a:picLocks noGrp="1" noRot="1" noChangeAspect="1"/>
          </p:cNvPicPr>
          <p:nvPr>
            <p:ph idx="1"/>
            <a:videoFile r:link="rId2"/>
            <p:custDataLst>
              <p:tags r:id="rId3"/>
            </p:custDataLst>
          </p:nvPr>
        </p:nvPicPr>
        <p:blipFill>
          <a:blip r:embed="rId5"/>
          <a:stretch>
            <a:fillRect/>
          </a:stretch>
        </p:blipFill>
        <p:spPr>
          <a:xfrm>
            <a:off x="2798763" y="2108200"/>
            <a:ext cx="6656387" cy="3760788"/>
          </a:xfrm>
          <a:prstGeom prst="rect">
            <a:avLst/>
          </a:prstGeom>
        </p:spPr>
      </p:pic>
    </p:spTree>
    <p:extLst>
      <p:ext uri="{BB962C8B-B14F-4D97-AF65-F5344CB8AC3E}">
        <p14:creationId xmlns:p14="http://schemas.microsoft.com/office/powerpoint/2010/main" val="265522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82A7B-CD9F-4D59-9032-112A8D838271}"/>
              </a:ext>
            </a:extLst>
          </p:cNvPr>
          <p:cNvSpPr>
            <a:spLocks noGrp="1"/>
          </p:cNvSpPr>
          <p:nvPr>
            <p:ph type="title"/>
          </p:nvPr>
        </p:nvSpPr>
        <p:spPr/>
        <p:txBody>
          <a:bodyPr/>
          <a:lstStyle/>
          <a:p>
            <a:r>
              <a:rPr lang="en-US" dirty="0"/>
              <a:t>Thanks for watching</a:t>
            </a:r>
          </a:p>
        </p:txBody>
      </p:sp>
    </p:spTree>
    <p:extLst>
      <p:ext uri="{BB962C8B-B14F-4D97-AF65-F5344CB8AC3E}">
        <p14:creationId xmlns:p14="http://schemas.microsoft.com/office/powerpoint/2010/main" val="3292056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E83D4-C336-436E-8E0E-A27E95860ECE}"/>
              </a:ext>
            </a:extLst>
          </p:cNvPr>
          <p:cNvSpPr>
            <a:spLocks noGrp="1"/>
          </p:cNvSpPr>
          <p:nvPr>
            <p:ph type="title"/>
          </p:nvPr>
        </p:nvSpPr>
        <p:spPr/>
        <p:txBody>
          <a:bodyPr/>
          <a:lstStyle/>
          <a:p>
            <a:r>
              <a:rPr lang="en-US" dirty="0"/>
              <a:t>Test Case, Test Suite &amp; Test Plan</a:t>
            </a:r>
          </a:p>
        </p:txBody>
      </p:sp>
      <p:pic>
        <p:nvPicPr>
          <p:cNvPr id="4" name="Content Placeholder 3">
            <a:extLst>
              <a:ext uri="{FF2B5EF4-FFF2-40B4-BE49-F238E27FC236}">
                <a16:creationId xmlns:a16="http://schemas.microsoft.com/office/drawing/2014/main" id="{6F4C2DC8-4CBF-4941-8545-BA31DAF585CE}"/>
              </a:ext>
            </a:extLst>
          </p:cNvPr>
          <p:cNvPicPr>
            <a:picLocks noGrp="1" noChangeAspect="1"/>
          </p:cNvPicPr>
          <p:nvPr>
            <p:ph idx="1"/>
          </p:nvPr>
        </p:nvPicPr>
        <p:blipFill>
          <a:blip r:embed="rId2"/>
          <a:stretch>
            <a:fillRect/>
          </a:stretch>
        </p:blipFill>
        <p:spPr>
          <a:xfrm>
            <a:off x="2365375" y="2108200"/>
            <a:ext cx="7521576" cy="3760788"/>
          </a:xfrm>
          <a:prstGeom prst="rect">
            <a:avLst/>
          </a:prstGeom>
        </p:spPr>
      </p:pic>
    </p:spTree>
    <p:extLst>
      <p:ext uri="{BB962C8B-B14F-4D97-AF65-F5344CB8AC3E}">
        <p14:creationId xmlns:p14="http://schemas.microsoft.com/office/powerpoint/2010/main" val="3063487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7D6F9-249C-4242-8642-F8E1DC7895F7}"/>
              </a:ext>
            </a:extLst>
          </p:cNvPr>
          <p:cNvSpPr>
            <a:spLocks noGrp="1"/>
          </p:cNvSpPr>
          <p:nvPr>
            <p:ph type="title"/>
          </p:nvPr>
        </p:nvSpPr>
        <p:spPr/>
        <p:txBody>
          <a:bodyPr/>
          <a:lstStyle/>
          <a:p>
            <a:r>
              <a:rPr lang="en-US" dirty="0"/>
              <a:t>Test Suites and Their Test Cases: The Hierarchy Explained</a:t>
            </a:r>
          </a:p>
        </p:txBody>
      </p:sp>
      <p:sp>
        <p:nvSpPr>
          <p:cNvPr id="3" name="Content Placeholder 2">
            <a:extLst>
              <a:ext uri="{FF2B5EF4-FFF2-40B4-BE49-F238E27FC236}">
                <a16:creationId xmlns:a16="http://schemas.microsoft.com/office/drawing/2014/main" id="{6B39ED7C-EDD0-4F52-8484-8A8B3CBDC187}"/>
              </a:ext>
            </a:extLst>
          </p:cNvPr>
          <p:cNvSpPr>
            <a:spLocks noGrp="1"/>
          </p:cNvSpPr>
          <p:nvPr>
            <p:ph idx="1"/>
          </p:nvPr>
        </p:nvSpPr>
        <p:spPr/>
        <p:txBody>
          <a:bodyPr/>
          <a:lstStyle/>
          <a:p>
            <a:r>
              <a:rPr lang="en-US" dirty="0"/>
              <a:t>https://www.testim.io/blog/test-suites-test-cases-hierarchy-explained/</a:t>
            </a:r>
          </a:p>
        </p:txBody>
      </p:sp>
    </p:spTree>
    <p:extLst>
      <p:ext uri="{BB962C8B-B14F-4D97-AF65-F5344CB8AC3E}">
        <p14:creationId xmlns:p14="http://schemas.microsoft.com/office/powerpoint/2010/main" val="1217133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D2661-8A21-4891-A575-8DCE1EFD9679}"/>
              </a:ext>
            </a:extLst>
          </p:cNvPr>
          <p:cNvSpPr>
            <a:spLocks noGrp="1"/>
          </p:cNvSpPr>
          <p:nvPr>
            <p:ph type="title"/>
          </p:nvPr>
        </p:nvSpPr>
        <p:spPr/>
        <p:txBody>
          <a:bodyPr/>
          <a:lstStyle/>
          <a:p>
            <a:r>
              <a:rPr lang="en-US" dirty="0"/>
              <a:t>Types of Software Testing</a:t>
            </a:r>
          </a:p>
        </p:txBody>
      </p:sp>
      <p:pic>
        <p:nvPicPr>
          <p:cNvPr id="4" name="Content Placeholder 3">
            <a:extLst>
              <a:ext uri="{FF2B5EF4-FFF2-40B4-BE49-F238E27FC236}">
                <a16:creationId xmlns:a16="http://schemas.microsoft.com/office/drawing/2014/main" id="{1E5B0169-5A0B-47AD-887C-A24C9D4B324B}"/>
              </a:ext>
            </a:extLst>
          </p:cNvPr>
          <p:cNvPicPr>
            <a:picLocks noGrp="1" noChangeAspect="1"/>
          </p:cNvPicPr>
          <p:nvPr>
            <p:ph idx="1"/>
          </p:nvPr>
        </p:nvPicPr>
        <p:blipFill>
          <a:blip r:embed="rId2"/>
          <a:stretch>
            <a:fillRect/>
          </a:stretch>
        </p:blipFill>
        <p:spPr>
          <a:xfrm>
            <a:off x="2365375" y="2108200"/>
            <a:ext cx="7521576" cy="3760788"/>
          </a:xfrm>
          <a:prstGeom prst="rect">
            <a:avLst/>
          </a:prstGeom>
        </p:spPr>
      </p:pic>
    </p:spTree>
    <p:extLst>
      <p:ext uri="{BB962C8B-B14F-4D97-AF65-F5344CB8AC3E}">
        <p14:creationId xmlns:p14="http://schemas.microsoft.com/office/powerpoint/2010/main" val="1212590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D2661-8A21-4891-A575-8DCE1EFD9679}"/>
              </a:ext>
            </a:extLst>
          </p:cNvPr>
          <p:cNvSpPr>
            <a:spLocks noGrp="1"/>
          </p:cNvSpPr>
          <p:nvPr>
            <p:ph type="title"/>
          </p:nvPr>
        </p:nvSpPr>
        <p:spPr/>
        <p:txBody>
          <a:bodyPr/>
          <a:lstStyle/>
          <a:p>
            <a:r>
              <a:rPr lang="en-US" dirty="0"/>
              <a:t>Types of Software Testing</a:t>
            </a:r>
          </a:p>
        </p:txBody>
      </p:sp>
      <p:sp>
        <p:nvSpPr>
          <p:cNvPr id="5" name="Content Placeholder 4">
            <a:extLst>
              <a:ext uri="{FF2B5EF4-FFF2-40B4-BE49-F238E27FC236}">
                <a16:creationId xmlns:a16="http://schemas.microsoft.com/office/drawing/2014/main" id="{761088DB-6957-49D5-9086-C28F11AD2556}"/>
              </a:ext>
            </a:extLst>
          </p:cNvPr>
          <p:cNvSpPr>
            <a:spLocks noGrp="1"/>
          </p:cNvSpPr>
          <p:nvPr>
            <p:ph idx="1"/>
          </p:nvPr>
        </p:nvSpPr>
        <p:spPr/>
        <p:txBody>
          <a:bodyPr/>
          <a:lstStyle/>
          <a:p>
            <a:r>
              <a:rPr lang="en-US" dirty="0"/>
              <a:t>Read this article for more details about Types of Testing Framework:</a:t>
            </a:r>
          </a:p>
          <a:p>
            <a:r>
              <a:rPr lang="en-US" dirty="0">
                <a:hlinkClick r:id="rId2"/>
              </a:rPr>
              <a:t>https://hackr.io/blog/types-of-software-testing</a:t>
            </a:r>
            <a:endParaRPr lang="en-US" dirty="0"/>
          </a:p>
          <a:p>
            <a:endParaRPr lang="en-US" dirty="0"/>
          </a:p>
        </p:txBody>
      </p:sp>
    </p:spTree>
    <p:extLst>
      <p:ext uri="{BB962C8B-B14F-4D97-AF65-F5344CB8AC3E}">
        <p14:creationId xmlns:p14="http://schemas.microsoft.com/office/powerpoint/2010/main" val="1934306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783CA-D9C9-4664-8965-A6CCD898792E}"/>
              </a:ext>
            </a:extLst>
          </p:cNvPr>
          <p:cNvSpPr>
            <a:spLocks noGrp="1"/>
          </p:cNvSpPr>
          <p:nvPr>
            <p:ph type="title"/>
          </p:nvPr>
        </p:nvSpPr>
        <p:spPr>
          <a:xfrm>
            <a:off x="1097280" y="286604"/>
            <a:ext cx="10058400" cy="1067744"/>
          </a:xfrm>
        </p:spPr>
        <p:txBody>
          <a:bodyPr/>
          <a:lstStyle/>
          <a:p>
            <a:r>
              <a:rPr lang="en-US" dirty="0"/>
              <a:t>Automation Testing</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3131" y="1906150"/>
            <a:ext cx="7268589" cy="4115374"/>
          </a:xfrm>
          <a:prstGeom prst="rect">
            <a:avLst/>
          </a:prstGeom>
        </p:spPr>
      </p:pic>
    </p:spTree>
    <p:extLst>
      <p:ext uri="{BB962C8B-B14F-4D97-AF65-F5344CB8AC3E}">
        <p14:creationId xmlns:p14="http://schemas.microsoft.com/office/powerpoint/2010/main" val="5139648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1377D-8D0E-4546-B273-55D5472932EB}"/>
              </a:ext>
            </a:extLst>
          </p:cNvPr>
          <p:cNvSpPr>
            <a:spLocks noGrp="1"/>
          </p:cNvSpPr>
          <p:nvPr>
            <p:ph type="title"/>
          </p:nvPr>
        </p:nvSpPr>
        <p:spPr/>
        <p:txBody>
          <a:bodyPr/>
          <a:lstStyle/>
          <a:p>
            <a:r>
              <a:rPr lang="en-US" dirty="0"/>
              <a:t>Top Use Cases for Automated Testing</a:t>
            </a:r>
          </a:p>
        </p:txBody>
      </p:sp>
      <p:pic>
        <p:nvPicPr>
          <p:cNvPr id="4" name="Content Placeholder 3">
            <a:extLst>
              <a:ext uri="{FF2B5EF4-FFF2-40B4-BE49-F238E27FC236}">
                <a16:creationId xmlns:a16="http://schemas.microsoft.com/office/drawing/2014/main" id="{C8B4DEAA-5D99-400D-9B5A-822CC3A5604A}"/>
              </a:ext>
            </a:extLst>
          </p:cNvPr>
          <p:cNvPicPr>
            <a:picLocks noGrp="1" noChangeAspect="1"/>
          </p:cNvPicPr>
          <p:nvPr>
            <p:ph idx="1"/>
          </p:nvPr>
        </p:nvPicPr>
        <p:blipFill>
          <a:blip r:embed="rId2"/>
          <a:stretch>
            <a:fillRect/>
          </a:stretch>
        </p:blipFill>
        <p:spPr>
          <a:xfrm>
            <a:off x="1976166" y="2108200"/>
            <a:ext cx="8299993" cy="3760788"/>
          </a:xfrm>
          <a:prstGeom prst="rect">
            <a:avLst/>
          </a:prstGeom>
        </p:spPr>
      </p:pic>
    </p:spTree>
    <p:extLst>
      <p:ext uri="{BB962C8B-B14F-4D97-AF65-F5344CB8AC3E}">
        <p14:creationId xmlns:p14="http://schemas.microsoft.com/office/powerpoint/2010/main" val="1355167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2411F-5AF6-4C60-805D-6230981E4BFE}"/>
              </a:ext>
            </a:extLst>
          </p:cNvPr>
          <p:cNvSpPr>
            <a:spLocks noGrp="1"/>
          </p:cNvSpPr>
          <p:nvPr>
            <p:ph type="title"/>
          </p:nvPr>
        </p:nvSpPr>
        <p:spPr/>
        <p:txBody>
          <a:bodyPr/>
          <a:lstStyle/>
          <a:p>
            <a:r>
              <a:rPr lang="en-US" dirty="0"/>
              <a:t>More about Automation Testing</a:t>
            </a:r>
          </a:p>
        </p:txBody>
      </p:sp>
      <p:sp>
        <p:nvSpPr>
          <p:cNvPr id="3" name="Content Placeholder 2">
            <a:extLst>
              <a:ext uri="{FF2B5EF4-FFF2-40B4-BE49-F238E27FC236}">
                <a16:creationId xmlns:a16="http://schemas.microsoft.com/office/drawing/2014/main" id="{839AB4DB-9FED-4B17-BAE6-531B0FC20837}"/>
              </a:ext>
            </a:extLst>
          </p:cNvPr>
          <p:cNvSpPr>
            <a:spLocks noGrp="1"/>
          </p:cNvSpPr>
          <p:nvPr>
            <p:ph idx="1"/>
          </p:nvPr>
        </p:nvSpPr>
        <p:spPr/>
        <p:txBody>
          <a:bodyPr/>
          <a:lstStyle/>
          <a:p>
            <a:r>
              <a:rPr lang="en-US" dirty="0"/>
              <a:t>A very detailed PDF slide: </a:t>
            </a:r>
            <a:r>
              <a:rPr lang="en-US" dirty="0">
                <a:hlinkClick r:id="rId2"/>
              </a:rPr>
              <a:t>https://home.cs.colorado.edu/~kena/classes/5828/s12/presentation-materials/ghanakotagayatri.pdf</a:t>
            </a:r>
            <a:endParaRPr lang="en-US" dirty="0"/>
          </a:p>
          <a:p>
            <a:r>
              <a:rPr lang="en-US" dirty="0"/>
              <a:t>Automation Testing for Beginner: </a:t>
            </a:r>
            <a:r>
              <a:rPr lang="en-US" dirty="0">
                <a:hlinkClick r:id="rId3"/>
              </a:rPr>
              <a:t>https://www.guru99.com/automation-testing.html</a:t>
            </a:r>
            <a:endParaRPr lang="en-US" dirty="0"/>
          </a:p>
          <a:p>
            <a:endParaRPr lang="en-US" dirty="0"/>
          </a:p>
        </p:txBody>
      </p:sp>
    </p:spTree>
    <p:extLst>
      <p:ext uri="{BB962C8B-B14F-4D97-AF65-F5344CB8AC3E}">
        <p14:creationId xmlns:p14="http://schemas.microsoft.com/office/powerpoint/2010/main" val="3179498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8800C85_CB01_48DC_A3A0_6DD9AFF93C22&quot;,&quot;SourceFullName&quot;:&quot;https://www.youtube.com/embed/vmcf_3Oriak?feature=oembed&quot;,&quot;LastUpdate&quot;:&quot;2021-12-08 12:01 AM&quot;,&quot;UpdatedBy&quot;:&quot;Admin&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0370E16_0456_482C_8F7C_0EF451C58A27&quot;,&quot;SourceFullName&quot;:&quot;https://www.youtube.com/embed/jSiFzLkZvcc?feature=oembed&quot;,&quot;LastUpdate&quot;:&quot;2021-12-08 12:05 AM&quot;,&quot;UpdatedBy&quot;:&quot;Admin&quot;,&quot;IsLinked&quot;:false,&quot;IsBrokenLink&quot;:false,&quot;Type&quot;:2}"/>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C79251E_1A14_4688_97F2_F067F320FAE7&quot;,&quot;SourceFullName&quot;:&quot;https://www.youtube.com/embed/8BQc5Me7ei0?start=61&amp;feature=oembed&quot;,&quot;LastUpdate&quot;:&quot;2021-12-08 12:07 AM&quot;,&quot;UpdatedBy&quot;:&quot;Admin&quot;,&quot;IsLinked&quot;:false,&quot;IsBrokenLink&quot;:false,&quot;Type&quot;:2}"/>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FD69FAB_57E5_48A6_A2D8_8AB14E65C2CD&quot;,&quot;SourceFullName&quot;:&quot;https://www.youtube.com/embed/QhhiNjCSpmc?feature=oembed&quot;,&quot;LastUpdate&quot;:&quot;2021-12-08 12:18 AM&quot;,&quot;UpdatedBy&quot;:&quot;Admin&quot;,&quot;IsLinked&quot;:false,&quot;IsBrokenLink&quot;:false,&quot;Type&quot;:2}"/>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CD486A_B803_42E0_A426_1D3A8C5C7B23&quot;,&quot;SourceFullName&quot;:&quot;https://www.youtube.com/embed/VS6EEUVZGLE?feature=oembed&quot;,&quot;LastUpdate&quot;:&quot;2021-12-08 12:35 AM&quot;,&quot;UpdatedBy&quot;:&quot;Admin&quot;,&quot;IsLinked&quot;:false,&quot;IsBrokenLink&quot;:false,&quot;Type&quot;:2}"/>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BC11E9E_68CA_4619_B760_808A01C8C1AE&quot;,&quot;SourceFullName&quot;:&quot;https://www.youtube.com/embed/Rq5TQlPyr8g?start=72&amp;feature=oembed&quot;,&quot;LastUpdate&quot;:&quot;2021-12-08 12:46 AM&quot;,&quot;UpdatedBy&quot;:&quot;Admin&quot;,&quot;IsLinked&quot;:false,&quot;IsBrokenLink&quot;:false,&quot;Type&quot;:2}"/>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56A8A6D_7094_448B_8C10_1B1035F1DC9F&quot;,&quot;SourceFullName&quot;:&quot;https://www.youtube.com/embed/Xrgk023l4lI?feature=oembed&quot;,&quot;LastUpdate&quot;:&quot;2021-12-08 12:54 AM&quot;,&quot;UpdatedBy&quot;:&quot;Admin&quot;,&quot;IsLinked&quot;:false,&quot;IsBrokenLink&quot;:false,&quot;Type&quot;:2}"/>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7737D71_9726_4112_9F23_869C9ABB62BD&quot;,&quot;SourceFullName&quot;:&quot;https://www.youtube.com/embed/5Eqz8hm3SVQ?feature=oembed&quot;,&quot;LastUpdate&quot;:&quot;2021-12-08 12:52 AM&quot;,&quot;UpdatedBy&quot;:&quot;Admin&quot;,&quot;IsLinked&quot;:false,&quot;IsBrokenLink&quot;:false,&quot;Type&quot;:2}"/>
</p:tagLst>
</file>

<file path=ppt/theme/theme1.xml><?xml version="1.0" encoding="utf-8"?>
<a:theme xmlns:a="http://schemas.openxmlformats.org/drawingml/2006/main" name="RetrospectVTI">
  <a:themeElements>
    <a:clrScheme name="">
      <a:dk1>
        <a:srgbClr val="000000"/>
      </a:dk1>
      <a:lt1>
        <a:srgbClr val="FFFFFF"/>
      </a:lt1>
      <a:dk2>
        <a:srgbClr val="243541"/>
      </a:dk2>
      <a:lt2>
        <a:srgbClr val="E2E5E8"/>
      </a:lt2>
      <a:accent1>
        <a:srgbClr val="E88B33"/>
      </a:accent1>
      <a:accent2>
        <a:srgbClr val="AEA33A"/>
      </a:accent2>
      <a:accent3>
        <a:srgbClr val="8CAB4A"/>
      </a:accent3>
      <a:accent4>
        <a:srgbClr val="57B636"/>
      </a:accent4>
      <a:accent5>
        <a:srgbClr val="2EBA43"/>
      </a:accent5>
      <a:accent6>
        <a:srgbClr val="33B67D"/>
      </a:accent6>
      <a:hlink>
        <a:srgbClr val="5F84A8"/>
      </a:hlink>
      <a:folHlink>
        <a:srgbClr val="7F7F7F"/>
      </a:folHlink>
    </a:clrScheme>
    <a:fontScheme name="Retrospect">
      <a:majorFont>
        <a:latin typeface="Georgia Pro Cond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peak Pro"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Override1.xml><?xml version="1.0" encoding="utf-8"?>
<a:themeOverride xmlns:a="http://schemas.openxmlformats.org/drawingml/2006/main">
  <a:clrScheme name="Custom 40">
    <a:dk1>
      <a:sysClr val="windowText" lastClr="000000"/>
    </a:dk1>
    <a:lt1>
      <a:sysClr val="window" lastClr="FFFFFF"/>
    </a:lt1>
    <a:dk2>
      <a:srgbClr val="545D57"/>
    </a:dk2>
    <a:lt2>
      <a:srgbClr val="EBEBE8"/>
    </a:lt2>
    <a:accent1>
      <a:srgbClr val="579858"/>
    </a:accent1>
    <a:accent2>
      <a:srgbClr val="ED583E"/>
    </a:accent2>
    <a:accent3>
      <a:srgbClr val="D3BA59"/>
    </a:accent3>
    <a:accent4>
      <a:srgbClr val="4C94AC"/>
    </a:accent4>
    <a:accent5>
      <a:srgbClr val="A09E84"/>
    </a:accent5>
    <a:accent6>
      <a:srgbClr val="FC7D4A"/>
    </a:accent6>
    <a:hlink>
      <a:srgbClr val="04A2DA"/>
    </a:hlink>
    <a:folHlink>
      <a:srgbClr val="808080"/>
    </a:folHlink>
  </a:clrScheme>
</a:themeOverride>
</file>

<file path=ppt/theme/themeOverride2.xml><?xml version="1.0" encoding="utf-8"?>
<a:themeOverride xmlns:a="http://schemas.openxmlformats.org/drawingml/2006/main">
  <a:clrScheme name="Custom 40">
    <a:dk1>
      <a:sysClr val="windowText" lastClr="000000"/>
    </a:dk1>
    <a:lt1>
      <a:sysClr val="window" lastClr="FFFFFF"/>
    </a:lt1>
    <a:dk2>
      <a:srgbClr val="545D57"/>
    </a:dk2>
    <a:lt2>
      <a:srgbClr val="EBEBE8"/>
    </a:lt2>
    <a:accent1>
      <a:srgbClr val="579858"/>
    </a:accent1>
    <a:accent2>
      <a:srgbClr val="ED583E"/>
    </a:accent2>
    <a:accent3>
      <a:srgbClr val="D3BA59"/>
    </a:accent3>
    <a:accent4>
      <a:srgbClr val="4C94AC"/>
    </a:accent4>
    <a:accent5>
      <a:srgbClr val="A09E84"/>
    </a:accent5>
    <a:accent6>
      <a:srgbClr val="FC7D4A"/>
    </a:accent6>
    <a:hlink>
      <a:srgbClr val="04A2DA"/>
    </a:hlink>
    <a:folHlink>
      <a:srgbClr val="808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ED24BC16CD3D42874C74FEAE4B7CBF" ma:contentTypeVersion="6" ma:contentTypeDescription="Create a new document." ma:contentTypeScope="" ma:versionID="f315a82b7c8a96a18afc425a36f95491">
  <xsd:schema xmlns:xsd="http://www.w3.org/2001/XMLSchema" xmlns:xs="http://www.w3.org/2001/XMLSchema" xmlns:p="http://schemas.microsoft.com/office/2006/metadata/properties" xmlns:ns2="ef039d9b-7639-4a63-9d80-68ca27a6af11" xmlns:ns3="ad0bf59e-6d80-4321-bea6-c60a0253fd2f" targetNamespace="http://schemas.microsoft.com/office/2006/metadata/properties" ma:root="true" ma:fieldsID="40fecf07a29a202344d5a7604a879ac9" ns2:_="" ns3:_="">
    <xsd:import namespace="ef039d9b-7639-4a63-9d80-68ca27a6af11"/>
    <xsd:import namespace="ad0bf59e-6d80-4321-bea6-c60a0253fd2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039d9b-7639-4a63-9d80-68ca27a6af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0bf59e-6d80-4321-bea6-c60a0253fd2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07A4FBE-EB20-4665-A743-53F5521A11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039d9b-7639-4a63-9d80-68ca27a6af11"/>
    <ds:schemaRef ds:uri="ad0bf59e-6d80-4321-bea6-c60a0253fd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F006B4-A9E1-4F39-85C8-FB836F919348}">
  <ds:schemaRefs>
    <ds:schemaRef ds:uri="http://schemas.microsoft.com/sharepoint/v3/contenttype/forms"/>
  </ds:schemaRefs>
</ds:datastoreItem>
</file>

<file path=customXml/itemProps3.xml><?xml version="1.0" encoding="utf-8"?>
<ds:datastoreItem xmlns:ds="http://schemas.openxmlformats.org/officeDocument/2006/customXml" ds:itemID="{8F3CD65D-61A5-43C9-A837-6EC73C7DA8AB}">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582E2AF9-1B7F-4EE3-BA35-91BEE8105648}tf11437505_win32</Template>
  <TotalTime>117</TotalTime>
  <Words>957</Words>
  <Application>Microsoft Office PowerPoint</Application>
  <PresentationFormat>Widescreen</PresentationFormat>
  <Paragraphs>74</Paragraphs>
  <Slides>27</Slides>
  <Notes>0</Notes>
  <HiddenSlides>0</HiddenSlides>
  <MMClips>8</MMClip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RetrospectVTI</vt:lpstr>
      <vt:lpstr>Automation Testing</vt:lpstr>
      <vt:lpstr>Development Cycle</vt:lpstr>
      <vt:lpstr>Test Case, Test Suite &amp; Test Plan</vt:lpstr>
      <vt:lpstr>Test Suites and Their Test Cases: The Hierarchy Explained</vt:lpstr>
      <vt:lpstr>Types of Software Testing</vt:lpstr>
      <vt:lpstr>Types of Software Testing</vt:lpstr>
      <vt:lpstr>Automation Testing</vt:lpstr>
      <vt:lpstr>Top Use Cases for Automated Testing</vt:lpstr>
      <vt:lpstr>More about Automation Testing</vt:lpstr>
      <vt:lpstr>What is a Test Framework?</vt:lpstr>
      <vt:lpstr>Benefits of a Test Automation Framework</vt:lpstr>
      <vt:lpstr>Types of Automated Testing Framework</vt:lpstr>
      <vt:lpstr>Linear Framework</vt:lpstr>
      <vt:lpstr>Modular Framework</vt:lpstr>
      <vt:lpstr>Library-based Framework</vt:lpstr>
      <vt:lpstr>Data-Driven Framework</vt:lpstr>
      <vt:lpstr>Keyword Driven Framework</vt:lpstr>
      <vt:lpstr>Hybrid Framework</vt:lpstr>
      <vt:lpstr>Behavior Driven Development Framework</vt:lpstr>
      <vt:lpstr>More about Automated Testing Framework</vt:lpstr>
      <vt:lpstr>What is Continuous Testing?</vt:lpstr>
      <vt:lpstr>Continuous Testing Definition: 14 Key Points</vt:lpstr>
      <vt:lpstr>Continuous Testing Definition: 14 Key Points</vt:lpstr>
      <vt:lpstr>Continuous Integration/Continuous Delivery (CI/CD)</vt:lpstr>
      <vt:lpstr>DevOps</vt:lpstr>
      <vt:lpstr>CI/CD .vs DevOps .vs Agility</vt:lpstr>
      <vt:lpstr>Thanks for watch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orem Ipsum</dc:title>
  <dc:creator>Manh Cuong Tran</dc:creator>
  <cp:lastModifiedBy>Nguyen Thi Bich Ngoc (GAM.DAP)</cp:lastModifiedBy>
  <cp:revision>8</cp:revision>
  <dcterms:created xsi:type="dcterms:W3CDTF">2021-12-07T16:12:40Z</dcterms:created>
  <dcterms:modified xsi:type="dcterms:W3CDTF">2023-05-10T08: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D24BC16CD3D42874C74FEAE4B7CBF</vt:lpwstr>
  </property>
</Properties>
</file>